
<file path=[Content_Types].xml><?xml version="1.0" encoding="utf-8"?>
<Types xmlns="http://schemas.openxmlformats.org/package/2006/content-types">
  <Default Extension="xml" ContentType="application/xml"/>
  <Default Extension="bin" ContentType="application/vnd.openxmlformats-officedocument.presentationml.printerSettings"/>
  <Default Extension="vml" ContentType="application/vnd.openxmlformats-officedocument.vmlDrawing"/>
  <Default Extension="png" ContentType="image/png"/>
  <Default Extension="emf" ContentType="image/x-emf"/>
  <Default Extension="rels" ContentType="application/vnd.openxmlformats-package.relationships+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embeddings/oleObject1.bin" ContentType="application/vnd.openxmlformats-officedocument.oleObject"/>
  <Override PartName="/ppt/tags/tag2.xml" ContentType="application/vnd.openxmlformats-officedocument.presentationml.tags+xml"/>
  <Override PartName="/ppt/embeddings/oleObject2.bin" ContentType="application/vnd.openxmlformats-officedocument.oleObject"/>
  <Override PartName="/ppt/tags/tag3.xml" ContentType="application/vnd.openxmlformats-officedocument.presentationml.tags+xml"/>
  <Override PartName="/ppt/embeddings/oleObject3.bin" ContentType="application/vnd.openxmlformats-officedocument.oleObject"/>
  <Override PartName="/ppt/tags/tag4.xml" ContentType="application/vnd.openxmlformats-officedocument.presentationml.tags+xml"/>
  <Override PartName="/ppt/embeddings/oleObject4.bin" ContentType="application/vnd.openxmlformats-officedocument.oleObject"/>
  <Override PartName="/ppt/tags/tag5.xml" ContentType="application/vnd.openxmlformats-officedocument.presentationml.tags+xml"/>
  <Override PartName="/ppt/embeddings/oleObject5.bin" ContentType="application/vnd.openxmlformats-officedocument.oleObject"/>
  <Override PartName="/ppt/tags/tag6.xml" ContentType="application/vnd.openxmlformats-officedocument.presentationml.tags+xml"/>
  <Override PartName="/ppt/embeddings/oleObject6.bin" ContentType="application/vnd.openxmlformats-officedocument.oleObject"/>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3.xml" ContentType="application/vnd.openxmlformats-officedocument.theme+xml"/>
  <Override PartName="/ppt/tags/tag7.xml" ContentType="application/vnd.openxmlformats-officedocument.presentationml.tags+xml"/>
  <Override PartName="/ppt/embeddings/oleObject7.bin" ContentType="application/vnd.openxmlformats-officedocument.oleObject"/>
  <Override PartName="/ppt/tags/tag8.xml" ContentType="application/vnd.openxmlformats-officedocument.presentationml.tags+xml"/>
  <Override PartName="/ppt/embeddings/oleObject8.bin" ContentType="application/vnd.openxmlformats-officedocument.oleObject"/>
  <Override PartName="/ppt/tags/tag9.xml" ContentType="application/vnd.openxmlformats-officedocument.presentationml.tags+xml"/>
  <Override PartName="/ppt/embeddings/oleObject9.bin" ContentType="application/vnd.openxmlformats-officedocument.oleObject"/>
  <Override PartName="/ppt/tags/tag10.xml" ContentType="application/vnd.openxmlformats-officedocument.presentationml.tags+xml"/>
  <Override PartName="/ppt/embeddings/oleObject10.bin" ContentType="application/vnd.openxmlformats-officedocument.oleObject"/>
  <Override PartName="/ppt/tags/tag11.xml" ContentType="application/vnd.openxmlformats-officedocument.presentationml.tags+xml"/>
  <Override PartName="/ppt/embeddings/oleObject11.bin" ContentType="application/vnd.openxmlformats-officedocument.oleObject"/>
  <Override PartName="/ppt/tags/tag12.xml" ContentType="application/vnd.openxmlformats-officedocument.presentationml.tags+xml"/>
  <Override PartName="/ppt/embeddings/oleObject12.bin" ContentType="application/vnd.openxmlformats-officedocument.oleObject"/>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ags/tag13.xml" ContentType="application/vnd.openxmlformats-officedocument.presentationml.tags+xml"/>
  <Override PartName="/ppt/embeddings/oleObject13.bin" ContentType="application/vnd.openxmlformats-officedocument.oleObject"/>
  <Override PartName="/ppt/tags/tag14.xml" ContentType="application/vnd.openxmlformats-officedocument.presentationml.tags+xml"/>
  <Override PartName="/ppt/embeddings/oleObject14.bin" ContentType="application/vnd.openxmlformats-officedocument.oleObject"/>
  <Override PartName="/ppt/tags/tag15.xml" ContentType="application/vnd.openxmlformats-officedocument.presentationml.tags+xml"/>
  <Override PartName="/ppt/embeddings/oleObject15.bin" ContentType="application/vnd.openxmlformats-officedocument.oleObject"/>
  <Override PartName="/ppt/tags/tag16.xml" ContentType="application/vnd.openxmlformats-officedocument.presentationml.tags+xml"/>
  <Override PartName="/ppt/embeddings/oleObject16.bin" ContentType="application/vnd.openxmlformats-officedocument.oleObject"/>
  <Override PartName="/ppt/tags/tag17.xml" ContentType="application/vnd.openxmlformats-officedocument.presentationml.tags+xml"/>
  <Override PartName="/ppt/embeddings/oleObject17.bin" ContentType="application/vnd.openxmlformats-officedocument.oleObject"/>
  <Override PartName="/ppt/tags/tag18.xml" ContentType="application/vnd.openxmlformats-officedocument.presentationml.tags+xml"/>
  <Override PartName="/ppt/embeddings/oleObject18.bin" ContentType="application/vnd.openxmlformats-officedocument.oleObject"/>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5.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6.xml" ContentType="application/vnd.openxmlformats-officedocument.theme+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7.xml" ContentType="application/vnd.openxmlformats-officedocument.theme+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8.xml" ContentType="application/vnd.openxmlformats-officedocument.theme+xml"/>
  <Override PartName="/ppt/theme/theme9.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9.xml" ContentType="application/vnd.openxmlformats-officedocument.presentationml.tags+xml"/>
  <Override PartName="/ppt/notesSlides/notesSlide4.xml" ContentType="application/vnd.openxmlformats-officedocument.presentationml.notesSlide+xml"/>
  <Override PartName="/ppt/tags/tag20.xml" ContentType="application/vnd.openxmlformats-officedocument.presentationml.tags+xml"/>
  <Override PartName="/ppt/notesSlides/notesSlide5.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1" Type="http://schemas.openxmlformats.org/officeDocument/2006/relationships/officeDocument" Target="ppt/presentation.xml"/><Relationship Id="rId2" Type="http://schemas.openxmlformats.org/package/2006/relationships/metadata/core-properties" Target="docProps/core.xml"/><Relationship Id="rId3"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705" r:id="rId1"/>
    <p:sldMasterId id="2147483717" r:id="rId2"/>
    <p:sldMasterId id="2147483724" r:id="rId3"/>
    <p:sldMasterId id="2147483731" r:id="rId4"/>
    <p:sldMasterId id="2147483746" r:id="rId5"/>
    <p:sldMasterId id="2147483760" r:id="rId6"/>
    <p:sldMasterId id="2147483805" r:id="rId7"/>
    <p:sldMasterId id="2147483820" r:id="rId8"/>
  </p:sldMasterIdLst>
  <p:notesMasterIdLst>
    <p:notesMasterId r:id="rId19"/>
  </p:notesMasterIdLst>
  <p:sldIdLst>
    <p:sldId id="1007" r:id="rId9"/>
    <p:sldId id="1024" r:id="rId10"/>
    <p:sldId id="1001" r:id="rId11"/>
    <p:sldId id="1023" r:id="rId12"/>
    <p:sldId id="1016" r:id="rId13"/>
    <p:sldId id="1017" r:id="rId14"/>
    <p:sldId id="1018" r:id="rId15"/>
    <p:sldId id="1019" r:id="rId16"/>
    <p:sldId id="1020" r:id="rId17"/>
    <p:sldId id="1011" r:id="rId18"/>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432">
          <p15:clr>
            <a:srgbClr val="A4A3A4"/>
          </p15:clr>
        </p15:guide>
        <p15:guide id="2" pos="5423">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Trevor Peter" initials="" lastIdx="76" clrIdx="0"/>
  <p:cmAuthor id="1" name="Rajnee Singh" initials="" lastIdx="36" clrIdx="1"/>
  <p:cmAuthor id="2" name="paolo Maggiore" initials="pM" lastIdx="1" clrIdx="2">
    <p:extLst/>
  </p:cmAuthor>
  <p:cmAuthor id="3" name="paolo Maggiore" initials="pM [2]" lastIdx="1" clrIdx="3">
    <p:extLst/>
  </p:cmAuthor>
  <p:cmAuthor id="4" name="Namita Bansal" initials="NB" lastIdx="26" clrIdx="4"/>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EA6B"/>
    <a:srgbClr val="10253F"/>
    <a:srgbClr val="4F81BD"/>
    <a:srgbClr val="FFB7B7"/>
    <a:srgbClr val="FFDE75"/>
    <a:srgbClr val="E8B121"/>
    <a:srgbClr val="003366"/>
    <a:srgbClr val="92D050"/>
    <a:srgbClr val="8E00BB"/>
    <a:srgbClr val="E389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76" autoAdjust="0"/>
    <p:restoredTop sz="95833" autoAdjust="0"/>
  </p:normalViewPr>
  <p:slideViewPr>
    <p:cSldViewPr>
      <p:cViewPr>
        <p:scale>
          <a:sx n="100" d="100"/>
          <a:sy n="100" d="100"/>
        </p:scale>
        <p:origin x="-1352" y="-336"/>
      </p:cViewPr>
      <p:guideLst>
        <p:guide orient="horz"/>
        <p:guide pos="5423"/>
      </p:guideLst>
    </p:cSldViewPr>
  </p:slideViewPr>
  <p:notesTextViewPr>
    <p:cViewPr>
      <p:scale>
        <a:sx n="1" d="1"/>
        <a:sy n="1" d="1"/>
      </p:scale>
      <p:origin x="0" y="0"/>
    </p:cViewPr>
  </p:notesTextViewPr>
  <p:sorterViewPr>
    <p:cViewPr>
      <p:scale>
        <a:sx n="200" d="100"/>
        <a:sy n="200" d="100"/>
      </p:scale>
      <p:origin x="0" y="0"/>
    </p:cViewPr>
  </p:sorterViewPr>
  <p:gridSpacing cx="76200" cy="76200"/>
</p:viewPr>
</file>

<file path=ppt/_rels/presentation.xml.rels><?xml version="1.0" encoding="UTF-8" standalone="yes"?>
<Relationships xmlns="http://schemas.openxmlformats.org/package/2006/relationships"><Relationship Id="rId9" Type="http://schemas.openxmlformats.org/officeDocument/2006/relationships/slide" Target="slides/slide1.xml"/><Relationship Id="rId20" Type="http://schemas.openxmlformats.org/officeDocument/2006/relationships/printerSettings" Target="printerSettings/printerSettings1.bin"/><Relationship Id="rId21" Type="http://schemas.openxmlformats.org/officeDocument/2006/relationships/commentAuthors" Target="commentAuthors.xml"/><Relationship Id="rId22" Type="http://schemas.openxmlformats.org/officeDocument/2006/relationships/presProps" Target="presProps.xml"/><Relationship Id="rId23" Type="http://schemas.openxmlformats.org/officeDocument/2006/relationships/viewProps" Target="viewProps.xml"/><Relationship Id="rId24" Type="http://schemas.openxmlformats.org/officeDocument/2006/relationships/theme" Target="theme/theme1.xml"/><Relationship Id="rId25" Type="http://schemas.openxmlformats.org/officeDocument/2006/relationships/tableStyles" Target="tableStyles.xml"/><Relationship Id="rId10" Type="http://schemas.openxmlformats.org/officeDocument/2006/relationships/slide" Target="slides/slide2.xml"/><Relationship Id="rId11" Type="http://schemas.openxmlformats.org/officeDocument/2006/relationships/slide" Target="slides/slide3.xml"/><Relationship Id="rId12" Type="http://schemas.openxmlformats.org/officeDocument/2006/relationships/slide" Target="slides/slide4.xml"/><Relationship Id="rId13" Type="http://schemas.openxmlformats.org/officeDocument/2006/relationships/slide" Target="slides/slide5.xml"/><Relationship Id="rId14" Type="http://schemas.openxmlformats.org/officeDocument/2006/relationships/slide" Target="slides/slide6.xml"/><Relationship Id="rId15" Type="http://schemas.openxmlformats.org/officeDocument/2006/relationships/slide" Target="slides/slide7.xml"/><Relationship Id="rId16" Type="http://schemas.openxmlformats.org/officeDocument/2006/relationships/slide" Target="slides/slide8.xml"/><Relationship Id="rId17" Type="http://schemas.openxmlformats.org/officeDocument/2006/relationships/slide" Target="slides/slide9.xml"/><Relationship Id="rId18" Type="http://schemas.openxmlformats.org/officeDocument/2006/relationships/slide" Target="slides/slide10.xml"/><Relationship Id="rId19" Type="http://schemas.openxmlformats.org/officeDocument/2006/relationships/notesMaster" Target="notesMasters/notesMaster1.xml"/><Relationship Id="rId1" Type="http://schemas.openxmlformats.org/officeDocument/2006/relationships/slideMaster" Target="slideMasters/slideMaster1.xml"/><Relationship Id="rId2" Type="http://schemas.openxmlformats.org/officeDocument/2006/relationships/slideMaster" Target="slideMasters/slideMaster2.xml"/><Relationship Id="rId3" Type="http://schemas.openxmlformats.org/officeDocument/2006/relationships/slideMaster" Target="slideMasters/slideMaster3.xml"/><Relationship Id="rId4" Type="http://schemas.openxmlformats.org/officeDocument/2006/relationships/slideMaster" Target="slideMasters/slideMaster4.xml"/><Relationship Id="rId5" Type="http://schemas.openxmlformats.org/officeDocument/2006/relationships/slideMaster" Target="slideMasters/slideMaster5.xml"/><Relationship Id="rId6" Type="http://schemas.openxmlformats.org/officeDocument/2006/relationships/slideMaster" Target="slideMasters/slideMaster6.xml"/><Relationship Id="rId7" Type="http://schemas.openxmlformats.org/officeDocument/2006/relationships/slideMaster" Target="slideMasters/slideMaster7.xml"/><Relationship Id="rId8" Type="http://schemas.openxmlformats.org/officeDocument/2006/relationships/slideMaster" Target="slideMasters/slideMaster8.xml"/></Relationships>
</file>

<file path=ppt/charts/_rels/chart1.xml.rels><?xml version="1.0" encoding="UTF-8" standalone="yes"?>
<Relationships xmlns="http://schemas.openxmlformats.org/package/2006/relationships"><Relationship Id="rId1" Type="http://schemas.openxmlformats.org/officeDocument/2006/relationships/oleObject" Target="file:///C:\Users\Katherine\AppData\Local\Microsoft\Windows\Temporary%20Internet%20Files\Content.Outlook\YTSKC6QB\New%20Data%20Template%20(sethmcgovern@clintonhealthaccess.org).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C:\Users\Katherine\AppData\Local\Microsoft\Windows\Temporary%20Internet%20Files\Content.Outlook\YTSKC6QB\New%20Data%20Template%20(sethmcgovern@clintonhealthaccess.org).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latin typeface="Calibri" panose="020F0502020204030204" pitchFamily="34" charset="0"/>
              </a:defRPr>
            </a:pPr>
            <a:r>
              <a:rPr lang="en-US" sz="1400">
                <a:latin typeface="Calibri" panose="020F0502020204030204" pitchFamily="34" charset="0"/>
              </a:rPr>
              <a:t>Country #2</a:t>
            </a:r>
          </a:p>
        </c:rich>
      </c:tx>
      <c:layout>
        <c:manualLayout>
          <c:xMode val="edge"/>
          <c:yMode val="edge"/>
          <c:x val="0.484669315362806"/>
          <c:y val="0.0769230769230769"/>
        </c:manualLayout>
      </c:layout>
      <c:overlay val="0"/>
    </c:title>
    <c:autoTitleDeleted val="0"/>
    <c:plotArea>
      <c:layout>
        <c:manualLayout>
          <c:layoutTarget val="inner"/>
          <c:xMode val="edge"/>
          <c:yMode val="edge"/>
          <c:x val="0.111876200500729"/>
          <c:y val="0.15883538596137"/>
          <c:w val="0.859023276460594"/>
          <c:h val="0.575038697085941"/>
        </c:manualLayout>
      </c:layout>
      <c:barChart>
        <c:barDir val="col"/>
        <c:grouping val="clustered"/>
        <c:varyColors val="0"/>
        <c:ser>
          <c:idx val="0"/>
          <c:order val="0"/>
          <c:tx>
            <c:strRef>
              <c:f>Kenya!$N$1</c:f>
              <c:strCache>
                <c:ptCount val="1"/>
                <c:pt idx="0">
                  <c:v>EID Tests per Day</c:v>
                </c:pt>
              </c:strCache>
            </c:strRef>
          </c:tx>
          <c:invertIfNegative val="0"/>
          <c:val>
            <c:numRef>
              <c:f>Kenya!$N$2:$N$4517</c:f>
              <c:numCache>
                <c:formatCode>General</c:formatCode>
                <c:ptCount val="4516"/>
                <c:pt idx="0">
                  <c:v>6.688708333333336</c:v>
                </c:pt>
                <c:pt idx="1">
                  <c:v>6.440625</c:v>
                </c:pt>
                <c:pt idx="2">
                  <c:v>5.868124999999981</c:v>
                </c:pt>
                <c:pt idx="3">
                  <c:v>5.333791666666667</c:v>
                </c:pt>
                <c:pt idx="4">
                  <c:v>4.885333333333337</c:v>
                </c:pt>
                <c:pt idx="5">
                  <c:v>4.75175</c:v>
                </c:pt>
                <c:pt idx="6">
                  <c:v>4.63725</c:v>
                </c:pt>
                <c:pt idx="7">
                  <c:v>4.017041666666667</c:v>
                </c:pt>
                <c:pt idx="8">
                  <c:v>4.007499999999999</c:v>
                </c:pt>
                <c:pt idx="9">
                  <c:v>3.978874999999999</c:v>
                </c:pt>
                <c:pt idx="10">
                  <c:v>3.501791666666667</c:v>
                </c:pt>
                <c:pt idx="11">
                  <c:v>3.301416666666667</c:v>
                </c:pt>
                <c:pt idx="12">
                  <c:v>3.186916666666667</c:v>
                </c:pt>
                <c:pt idx="13">
                  <c:v>3.129666666666667</c:v>
                </c:pt>
                <c:pt idx="14">
                  <c:v>2.957916666666667</c:v>
                </c:pt>
                <c:pt idx="15">
                  <c:v>2.91020833333332</c:v>
                </c:pt>
                <c:pt idx="16">
                  <c:v>2.900666666666666</c:v>
                </c:pt>
                <c:pt idx="17">
                  <c:v>2.776625</c:v>
                </c:pt>
                <c:pt idx="18">
                  <c:v>2.643041666666667</c:v>
                </c:pt>
                <c:pt idx="19">
                  <c:v>2.604875</c:v>
                </c:pt>
                <c:pt idx="20">
                  <c:v>2.585791666666667</c:v>
                </c:pt>
                <c:pt idx="21">
                  <c:v>2.566708333333333</c:v>
                </c:pt>
                <c:pt idx="22">
                  <c:v>2.471291666666667</c:v>
                </c:pt>
                <c:pt idx="23">
                  <c:v>2.347249999999998</c:v>
                </c:pt>
                <c:pt idx="24">
                  <c:v>2.318624999999999</c:v>
                </c:pt>
                <c:pt idx="25">
                  <c:v>2.232749999999998</c:v>
                </c:pt>
                <c:pt idx="26">
                  <c:v>2.213666666666667</c:v>
                </c:pt>
                <c:pt idx="27">
                  <c:v>2.204125</c:v>
                </c:pt>
                <c:pt idx="28">
                  <c:v>2.089625</c:v>
                </c:pt>
                <c:pt idx="29">
                  <c:v>2.013291666666667</c:v>
                </c:pt>
                <c:pt idx="30">
                  <c:v>1.965583333333333</c:v>
                </c:pt>
                <c:pt idx="31">
                  <c:v>1.936958333333333</c:v>
                </c:pt>
                <c:pt idx="32">
                  <c:v>1.88925</c:v>
                </c:pt>
                <c:pt idx="33">
                  <c:v>1.841541666666667</c:v>
                </c:pt>
                <c:pt idx="34">
                  <c:v>1.832</c:v>
                </c:pt>
                <c:pt idx="35">
                  <c:v>1.822458333333333</c:v>
                </c:pt>
                <c:pt idx="36">
                  <c:v>1.77475</c:v>
                </c:pt>
                <c:pt idx="37">
                  <c:v>1.746125</c:v>
                </c:pt>
                <c:pt idx="38">
                  <c:v>1.746125</c:v>
                </c:pt>
                <c:pt idx="39">
                  <c:v>1.736583333333334</c:v>
                </c:pt>
                <c:pt idx="40">
                  <c:v>1.688875</c:v>
                </c:pt>
                <c:pt idx="41">
                  <c:v>1.650708333333334</c:v>
                </c:pt>
                <c:pt idx="42">
                  <c:v>1.622083333333333</c:v>
                </c:pt>
                <c:pt idx="43">
                  <c:v>1.583916666666667</c:v>
                </c:pt>
                <c:pt idx="44">
                  <c:v>1.564833333333333</c:v>
                </c:pt>
                <c:pt idx="45">
                  <c:v>1.555291666666666</c:v>
                </c:pt>
                <c:pt idx="46">
                  <c:v>1.555291666666666</c:v>
                </c:pt>
                <c:pt idx="47">
                  <c:v>1.54575</c:v>
                </c:pt>
                <c:pt idx="48">
                  <c:v>1.54575</c:v>
                </c:pt>
                <c:pt idx="49">
                  <c:v>1.526666666666667</c:v>
                </c:pt>
                <c:pt idx="50">
                  <c:v>1.507583333333333</c:v>
                </c:pt>
                <c:pt idx="51">
                  <c:v>1.507583333333333</c:v>
                </c:pt>
                <c:pt idx="52">
                  <c:v>1.4885</c:v>
                </c:pt>
                <c:pt idx="53">
                  <c:v>1.4885</c:v>
                </c:pt>
                <c:pt idx="54">
                  <c:v>1.469416666666667</c:v>
                </c:pt>
                <c:pt idx="55">
                  <c:v>1.450333333333333</c:v>
                </c:pt>
                <c:pt idx="56">
                  <c:v>1.440791666666666</c:v>
                </c:pt>
                <c:pt idx="57">
                  <c:v>1.440791666666666</c:v>
                </c:pt>
                <c:pt idx="58">
                  <c:v>1.440791666666666</c:v>
                </c:pt>
                <c:pt idx="59">
                  <c:v>1.412166666666667</c:v>
                </c:pt>
                <c:pt idx="60">
                  <c:v>1.412166666666667</c:v>
                </c:pt>
                <c:pt idx="61">
                  <c:v>1.393083333333334</c:v>
                </c:pt>
                <c:pt idx="62">
                  <c:v>1.374</c:v>
                </c:pt>
                <c:pt idx="63">
                  <c:v>1.326291666666667</c:v>
                </c:pt>
                <c:pt idx="64">
                  <c:v>1.326291666666667</c:v>
                </c:pt>
                <c:pt idx="65">
                  <c:v>1.326291666666667</c:v>
                </c:pt>
                <c:pt idx="66">
                  <c:v>1.307208333333333</c:v>
                </c:pt>
                <c:pt idx="67">
                  <c:v>1.288125</c:v>
                </c:pt>
                <c:pt idx="68">
                  <c:v>1.288125</c:v>
                </c:pt>
                <c:pt idx="69">
                  <c:v>1.278583333333334</c:v>
                </c:pt>
                <c:pt idx="70">
                  <c:v>1.278583333333334</c:v>
                </c:pt>
                <c:pt idx="71">
                  <c:v>1.230875</c:v>
                </c:pt>
                <c:pt idx="72">
                  <c:v>1.192708333333333</c:v>
                </c:pt>
                <c:pt idx="73">
                  <c:v>1.192708333333333</c:v>
                </c:pt>
                <c:pt idx="74">
                  <c:v>1.183166666666666</c:v>
                </c:pt>
                <c:pt idx="75">
                  <c:v>1.183166666666666</c:v>
                </c:pt>
                <c:pt idx="76">
                  <c:v>1.173625</c:v>
                </c:pt>
                <c:pt idx="77">
                  <c:v>1.173625</c:v>
                </c:pt>
                <c:pt idx="78">
                  <c:v>1.164083333333334</c:v>
                </c:pt>
                <c:pt idx="79">
                  <c:v>1.164083333333334</c:v>
                </c:pt>
                <c:pt idx="80">
                  <c:v>1.154541666666667</c:v>
                </c:pt>
                <c:pt idx="81">
                  <c:v>1.145</c:v>
                </c:pt>
                <c:pt idx="82">
                  <c:v>1.135458333333333</c:v>
                </c:pt>
                <c:pt idx="83">
                  <c:v>1.135458333333333</c:v>
                </c:pt>
                <c:pt idx="84">
                  <c:v>1.125916666666667</c:v>
                </c:pt>
                <c:pt idx="85">
                  <c:v>1.125916666666667</c:v>
                </c:pt>
                <c:pt idx="86">
                  <c:v>1.116375</c:v>
                </c:pt>
                <c:pt idx="87">
                  <c:v>1.116375</c:v>
                </c:pt>
                <c:pt idx="88">
                  <c:v>1.106833333333333</c:v>
                </c:pt>
                <c:pt idx="89">
                  <c:v>1.097291666666667</c:v>
                </c:pt>
                <c:pt idx="90">
                  <c:v>1.08775</c:v>
                </c:pt>
                <c:pt idx="91">
                  <c:v>1.08775</c:v>
                </c:pt>
                <c:pt idx="92">
                  <c:v>1.078208333333333</c:v>
                </c:pt>
                <c:pt idx="93">
                  <c:v>1.068666666666667</c:v>
                </c:pt>
                <c:pt idx="94">
                  <c:v>1.068666666666667</c:v>
                </c:pt>
                <c:pt idx="95">
                  <c:v>1.068666666666667</c:v>
                </c:pt>
                <c:pt idx="96">
                  <c:v>1.049583333333333</c:v>
                </c:pt>
                <c:pt idx="97">
                  <c:v>1.049583333333333</c:v>
                </c:pt>
                <c:pt idx="98">
                  <c:v>1.049583333333333</c:v>
                </c:pt>
                <c:pt idx="99">
                  <c:v>1.0305</c:v>
                </c:pt>
                <c:pt idx="100">
                  <c:v>1.0305</c:v>
                </c:pt>
                <c:pt idx="101">
                  <c:v>1.020958333333334</c:v>
                </c:pt>
                <c:pt idx="102">
                  <c:v>1.020958333333334</c:v>
                </c:pt>
                <c:pt idx="103">
                  <c:v>1.011416666666667</c:v>
                </c:pt>
                <c:pt idx="104">
                  <c:v>1.001875</c:v>
                </c:pt>
                <c:pt idx="105">
                  <c:v>0.982791666666667</c:v>
                </c:pt>
                <c:pt idx="106">
                  <c:v>0.982791666666667</c:v>
                </c:pt>
                <c:pt idx="107">
                  <c:v>0.982791666666667</c:v>
                </c:pt>
                <c:pt idx="108">
                  <c:v>0.97325</c:v>
                </c:pt>
                <c:pt idx="109">
                  <c:v>0.97325</c:v>
                </c:pt>
                <c:pt idx="110">
                  <c:v>0.963708333333333</c:v>
                </c:pt>
                <c:pt idx="111">
                  <c:v>0.954166666666667</c:v>
                </c:pt>
                <c:pt idx="112">
                  <c:v>0.944625</c:v>
                </c:pt>
                <c:pt idx="113">
                  <c:v>0.944625</c:v>
                </c:pt>
                <c:pt idx="114">
                  <c:v>0.935083333333333</c:v>
                </c:pt>
                <c:pt idx="115">
                  <c:v>0.935083333333333</c:v>
                </c:pt>
                <c:pt idx="116">
                  <c:v>0.935083333333333</c:v>
                </c:pt>
                <c:pt idx="117">
                  <c:v>0.925541666666667</c:v>
                </c:pt>
                <c:pt idx="118">
                  <c:v>0.916</c:v>
                </c:pt>
                <c:pt idx="119">
                  <c:v>0.916</c:v>
                </c:pt>
                <c:pt idx="120">
                  <c:v>0.896916666666667</c:v>
                </c:pt>
                <c:pt idx="121">
                  <c:v>0.896916666666667</c:v>
                </c:pt>
                <c:pt idx="122">
                  <c:v>0.887375</c:v>
                </c:pt>
                <c:pt idx="123">
                  <c:v>0.887375</c:v>
                </c:pt>
                <c:pt idx="124">
                  <c:v>0.887375</c:v>
                </c:pt>
                <c:pt idx="125">
                  <c:v>0.887375</c:v>
                </c:pt>
                <c:pt idx="126">
                  <c:v>0.877833333333333</c:v>
                </c:pt>
                <c:pt idx="127">
                  <c:v>0.877833333333333</c:v>
                </c:pt>
                <c:pt idx="128">
                  <c:v>0.868291666666667</c:v>
                </c:pt>
                <c:pt idx="129">
                  <c:v>0.85875</c:v>
                </c:pt>
                <c:pt idx="130">
                  <c:v>0.85875</c:v>
                </c:pt>
                <c:pt idx="131">
                  <c:v>0.85875</c:v>
                </c:pt>
                <c:pt idx="132">
                  <c:v>0.85875</c:v>
                </c:pt>
                <c:pt idx="133">
                  <c:v>0.849208333333333</c:v>
                </c:pt>
                <c:pt idx="134">
                  <c:v>0.849208333333333</c:v>
                </c:pt>
                <c:pt idx="135">
                  <c:v>0.849208333333333</c:v>
                </c:pt>
                <c:pt idx="136">
                  <c:v>0.849208333333333</c:v>
                </c:pt>
                <c:pt idx="137">
                  <c:v>0.849208333333333</c:v>
                </c:pt>
                <c:pt idx="138">
                  <c:v>0.839666666666667</c:v>
                </c:pt>
                <c:pt idx="139">
                  <c:v>0.839666666666667</c:v>
                </c:pt>
                <c:pt idx="140">
                  <c:v>0.839666666666667</c:v>
                </c:pt>
                <c:pt idx="141">
                  <c:v>0.830125</c:v>
                </c:pt>
                <c:pt idx="142">
                  <c:v>0.830125</c:v>
                </c:pt>
                <c:pt idx="143">
                  <c:v>0.830125</c:v>
                </c:pt>
                <c:pt idx="144">
                  <c:v>0.820583333333333</c:v>
                </c:pt>
                <c:pt idx="145">
                  <c:v>0.820583333333333</c:v>
                </c:pt>
                <c:pt idx="146">
                  <c:v>0.8015</c:v>
                </c:pt>
                <c:pt idx="147">
                  <c:v>0.8015</c:v>
                </c:pt>
                <c:pt idx="148">
                  <c:v>0.8015</c:v>
                </c:pt>
                <c:pt idx="149">
                  <c:v>0.8015</c:v>
                </c:pt>
                <c:pt idx="150">
                  <c:v>0.791958333333333</c:v>
                </c:pt>
                <c:pt idx="151">
                  <c:v>0.791958333333333</c:v>
                </c:pt>
                <c:pt idx="152">
                  <c:v>0.782416666666666</c:v>
                </c:pt>
                <c:pt idx="153">
                  <c:v>0.772875</c:v>
                </c:pt>
                <c:pt idx="154">
                  <c:v>0.772875</c:v>
                </c:pt>
                <c:pt idx="155">
                  <c:v>0.763333333333333</c:v>
                </c:pt>
                <c:pt idx="156">
                  <c:v>0.763333333333333</c:v>
                </c:pt>
                <c:pt idx="157">
                  <c:v>0.763333333333333</c:v>
                </c:pt>
                <c:pt idx="158">
                  <c:v>0.763333333333333</c:v>
                </c:pt>
                <c:pt idx="159">
                  <c:v>0.763333333333333</c:v>
                </c:pt>
                <c:pt idx="160">
                  <c:v>0.753791666666667</c:v>
                </c:pt>
                <c:pt idx="161">
                  <c:v>0.753791666666667</c:v>
                </c:pt>
                <c:pt idx="162">
                  <c:v>0.753791666666667</c:v>
                </c:pt>
                <c:pt idx="163">
                  <c:v>0.74425</c:v>
                </c:pt>
                <c:pt idx="164">
                  <c:v>0.74425</c:v>
                </c:pt>
                <c:pt idx="165">
                  <c:v>0.734708333333334</c:v>
                </c:pt>
                <c:pt idx="166">
                  <c:v>0.734708333333334</c:v>
                </c:pt>
                <c:pt idx="167">
                  <c:v>0.734708333333334</c:v>
                </c:pt>
                <c:pt idx="168">
                  <c:v>0.734708333333334</c:v>
                </c:pt>
                <c:pt idx="169">
                  <c:v>0.734708333333334</c:v>
                </c:pt>
                <c:pt idx="170">
                  <c:v>0.734708333333334</c:v>
                </c:pt>
                <c:pt idx="171">
                  <c:v>0.725166666666666</c:v>
                </c:pt>
                <c:pt idx="172">
                  <c:v>0.725166666666666</c:v>
                </c:pt>
                <c:pt idx="173">
                  <c:v>0.725166666666666</c:v>
                </c:pt>
                <c:pt idx="174">
                  <c:v>0.725166666666666</c:v>
                </c:pt>
                <c:pt idx="175">
                  <c:v>0.725166666666666</c:v>
                </c:pt>
                <c:pt idx="176">
                  <c:v>0.715625</c:v>
                </c:pt>
                <c:pt idx="177">
                  <c:v>0.715625</c:v>
                </c:pt>
                <c:pt idx="178">
                  <c:v>0.715625</c:v>
                </c:pt>
                <c:pt idx="179">
                  <c:v>0.715625</c:v>
                </c:pt>
                <c:pt idx="180">
                  <c:v>0.715625</c:v>
                </c:pt>
                <c:pt idx="181">
                  <c:v>0.715625</c:v>
                </c:pt>
                <c:pt idx="182">
                  <c:v>0.706083333333333</c:v>
                </c:pt>
                <c:pt idx="183">
                  <c:v>0.706083333333333</c:v>
                </c:pt>
                <c:pt idx="184">
                  <c:v>0.706083333333333</c:v>
                </c:pt>
                <c:pt idx="185">
                  <c:v>0.706083333333333</c:v>
                </c:pt>
                <c:pt idx="186">
                  <c:v>0.706083333333333</c:v>
                </c:pt>
                <c:pt idx="187">
                  <c:v>0.696541666666667</c:v>
                </c:pt>
                <c:pt idx="188">
                  <c:v>0.687</c:v>
                </c:pt>
                <c:pt idx="189">
                  <c:v>0.687</c:v>
                </c:pt>
                <c:pt idx="190">
                  <c:v>0.687</c:v>
                </c:pt>
                <c:pt idx="191">
                  <c:v>0.687</c:v>
                </c:pt>
                <c:pt idx="192">
                  <c:v>0.687</c:v>
                </c:pt>
                <c:pt idx="193">
                  <c:v>0.687</c:v>
                </c:pt>
                <c:pt idx="194">
                  <c:v>0.687</c:v>
                </c:pt>
                <c:pt idx="195">
                  <c:v>0.677458333333334</c:v>
                </c:pt>
                <c:pt idx="196">
                  <c:v>0.677458333333334</c:v>
                </c:pt>
                <c:pt idx="197">
                  <c:v>0.677458333333334</c:v>
                </c:pt>
                <c:pt idx="198">
                  <c:v>0.677458333333334</c:v>
                </c:pt>
                <c:pt idx="199">
                  <c:v>0.667916666666667</c:v>
                </c:pt>
                <c:pt idx="200">
                  <c:v>0.667916666666667</c:v>
                </c:pt>
                <c:pt idx="201">
                  <c:v>0.658375</c:v>
                </c:pt>
                <c:pt idx="202">
                  <c:v>0.658375</c:v>
                </c:pt>
                <c:pt idx="203">
                  <c:v>0.658375</c:v>
                </c:pt>
                <c:pt idx="204">
                  <c:v>0.658375</c:v>
                </c:pt>
                <c:pt idx="205">
                  <c:v>0.658375</c:v>
                </c:pt>
                <c:pt idx="206">
                  <c:v>0.648833333333333</c:v>
                </c:pt>
                <c:pt idx="207">
                  <c:v>0.648833333333333</c:v>
                </c:pt>
                <c:pt idx="208">
                  <c:v>0.639291666666667</c:v>
                </c:pt>
                <c:pt idx="209">
                  <c:v>0.639291666666667</c:v>
                </c:pt>
                <c:pt idx="210">
                  <c:v>0.62975</c:v>
                </c:pt>
                <c:pt idx="211">
                  <c:v>0.62975</c:v>
                </c:pt>
                <c:pt idx="212">
                  <c:v>0.62975</c:v>
                </c:pt>
                <c:pt idx="213">
                  <c:v>0.62975</c:v>
                </c:pt>
                <c:pt idx="214">
                  <c:v>0.62975</c:v>
                </c:pt>
                <c:pt idx="215">
                  <c:v>0.620208333333333</c:v>
                </c:pt>
                <c:pt idx="216">
                  <c:v>0.620208333333333</c:v>
                </c:pt>
                <c:pt idx="217">
                  <c:v>0.620208333333333</c:v>
                </c:pt>
                <c:pt idx="218">
                  <c:v>0.620208333333333</c:v>
                </c:pt>
                <c:pt idx="219">
                  <c:v>0.620208333333333</c:v>
                </c:pt>
                <c:pt idx="220">
                  <c:v>0.610666666666667</c:v>
                </c:pt>
                <c:pt idx="221">
                  <c:v>0.610666666666667</c:v>
                </c:pt>
                <c:pt idx="222">
                  <c:v>0.601125</c:v>
                </c:pt>
                <c:pt idx="223">
                  <c:v>0.601125</c:v>
                </c:pt>
                <c:pt idx="224">
                  <c:v>0.601125</c:v>
                </c:pt>
                <c:pt idx="225">
                  <c:v>0.601125</c:v>
                </c:pt>
                <c:pt idx="226">
                  <c:v>0.601125</c:v>
                </c:pt>
                <c:pt idx="227">
                  <c:v>0.601125</c:v>
                </c:pt>
                <c:pt idx="228">
                  <c:v>0.591583333333333</c:v>
                </c:pt>
                <c:pt idx="229">
                  <c:v>0.591583333333333</c:v>
                </c:pt>
                <c:pt idx="230">
                  <c:v>0.591583333333333</c:v>
                </c:pt>
                <c:pt idx="231">
                  <c:v>0.591583333333333</c:v>
                </c:pt>
                <c:pt idx="232">
                  <c:v>0.591583333333333</c:v>
                </c:pt>
                <c:pt idx="233">
                  <c:v>0.582041666666667</c:v>
                </c:pt>
                <c:pt idx="234">
                  <c:v>0.582041666666667</c:v>
                </c:pt>
                <c:pt idx="235">
                  <c:v>0.582041666666667</c:v>
                </c:pt>
                <c:pt idx="236">
                  <c:v>0.582041666666667</c:v>
                </c:pt>
                <c:pt idx="237">
                  <c:v>0.5725</c:v>
                </c:pt>
                <c:pt idx="238">
                  <c:v>0.5725</c:v>
                </c:pt>
                <c:pt idx="239">
                  <c:v>0.5725</c:v>
                </c:pt>
                <c:pt idx="240">
                  <c:v>0.5725</c:v>
                </c:pt>
                <c:pt idx="241">
                  <c:v>0.562958333333333</c:v>
                </c:pt>
                <c:pt idx="242">
                  <c:v>0.562958333333333</c:v>
                </c:pt>
                <c:pt idx="243">
                  <c:v>0.562958333333333</c:v>
                </c:pt>
                <c:pt idx="244">
                  <c:v>0.562958333333333</c:v>
                </c:pt>
                <c:pt idx="245">
                  <c:v>0.562958333333333</c:v>
                </c:pt>
                <c:pt idx="246">
                  <c:v>0.562958333333333</c:v>
                </c:pt>
                <c:pt idx="247">
                  <c:v>0.562958333333333</c:v>
                </c:pt>
                <c:pt idx="248">
                  <c:v>0.562958333333333</c:v>
                </c:pt>
                <c:pt idx="249">
                  <c:v>0.562958333333333</c:v>
                </c:pt>
                <c:pt idx="250">
                  <c:v>0.562958333333333</c:v>
                </c:pt>
                <c:pt idx="251">
                  <c:v>0.553416666666667</c:v>
                </c:pt>
                <c:pt idx="252">
                  <c:v>0.553416666666667</c:v>
                </c:pt>
                <c:pt idx="253">
                  <c:v>0.553416666666667</c:v>
                </c:pt>
                <c:pt idx="254">
                  <c:v>0.553416666666667</c:v>
                </c:pt>
                <c:pt idx="255">
                  <c:v>0.553416666666667</c:v>
                </c:pt>
                <c:pt idx="256">
                  <c:v>0.543875</c:v>
                </c:pt>
                <c:pt idx="257">
                  <c:v>0.543875</c:v>
                </c:pt>
                <c:pt idx="258">
                  <c:v>0.543875</c:v>
                </c:pt>
                <c:pt idx="259">
                  <c:v>0.543875</c:v>
                </c:pt>
                <c:pt idx="260">
                  <c:v>0.534333333333333</c:v>
                </c:pt>
                <c:pt idx="261">
                  <c:v>0.534333333333333</c:v>
                </c:pt>
                <c:pt idx="262">
                  <c:v>0.534333333333333</c:v>
                </c:pt>
                <c:pt idx="263">
                  <c:v>0.534333333333333</c:v>
                </c:pt>
                <c:pt idx="264">
                  <c:v>0.534333333333333</c:v>
                </c:pt>
                <c:pt idx="265">
                  <c:v>0.524791666666667</c:v>
                </c:pt>
                <c:pt idx="266">
                  <c:v>0.524791666666667</c:v>
                </c:pt>
                <c:pt idx="267">
                  <c:v>0.524791666666667</c:v>
                </c:pt>
                <c:pt idx="268">
                  <c:v>0.524791666666667</c:v>
                </c:pt>
                <c:pt idx="269">
                  <c:v>0.524791666666667</c:v>
                </c:pt>
                <c:pt idx="270">
                  <c:v>0.524791666666667</c:v>
                </c:pt>
                <c:pt idx="271">
                  <c:v>0.524791666666667</c:v>
                </c:pt>
                <c:pt idx="272">
                  <c:v>0.524791666666667</c:v>
                </c:pt>
                <c:pt idx="273">
                  <c:v>0.51525</c:v>
                </c:pt>
                <c:pt idx="274">
                  <c:v>0.51525</c:v>
                </c:pt>
                <c:pt idx="275">
                  <c:v>0.51525</c:v>
                </c:pt>
                <c:pt idx="276">
                  <c:v>0.51525</c:v>
                </c:pt>
                <c:pt idx="277">
                  <c:v>0.51525</c:v>
                </c:pt>
                <c:pt idx="278">
                  <c:v>0.505708333333333</c:v>
                </c:pt>
                <c:pt idx="279">
                  <c:v>0.505708333333333</c:v>
                </c:pt>
                <c:pt idx="280">
                  <c:v>0.505708333333333</c:v>
                </c:pt>
                <c:pt idx="281">
                  <c:v>0.496166666666667</c:v>
                </c:pt>
                <c:pt idx="282">
                  <c:v>0.496166666666667</c:v>
                </c:pt>
                <c:pt idx="283">
                  <c:v>0.496166666666667</c:v>
                </c:pt>
                <c:pt idx="284">
                  <c:v>0.496166666666667</c:v>
                </c:pt>
                <c:pt idx="285">
                  <c:v>0.496166666666667</c:v>
                </c:pt>
                <c:pt idx="286">
                  <c:v>0.496166666666667</c:v>
                </c:pt>
                <c:pt idx="287">
                  <c:v>0.496166666666667</c:v>
                </c:pt>
                <c:pt idx="288">
                  <c:v>0.496166666666667</c:v>
                </c:pt>
                <c:pt idx="289">
                  <c:v>0.486625</c:v>
                </c:pt>
                <c:pt idx="290">
                  <c:v>0.486625</c:v>
                </c:pt>
                <c:pt idx="291">
                  <c:v>0.486625</c:v>
                </c:pt>
                <c:pt idx="292">
                  <c:v>0.486625</c:v>
                </c:pt>
                <c:pt idx="293">
                  <c:v>0.486625</c:v>
                </c:pt>
                <c:pt idx="294">
                  <c:v>0.486625</c:v>
                </c:pt>
                <c:pt idx="295">
                  <c:v>0.477083333333333</c:v>
                </c:pt>
                <c:pt idx="296">
                  <c:v>0.477083333333333</c:v>
                </c:pt>
                <c:pt idx="297">
                  <c:v>0.477083333333333</c:v>
                </c:pt>
                <c:pt idx="298">
                  <c:v>0.477083333333333</c:v>
                </c:pt>
                <c:pt idx="299">
                  <c:v>0.467541666666667</c:v>
                </c:pt>
                <c:pt idx="300">
                  <c:v>0.467541666666667</c:v>
                </c:pt>
                <c:pt idx="301">
                  <c:v>0.467541666666667</c:v>
                </c:pt>
                <c:pt idx="302">
                  <c:v>0.467541666666667</c:v>
                </c:pt>
                <c:pt idx="303">
                  <c:v>0.467541666666667</c:v>
                </c:pt>
                <c:pt idx="304">
                  <c:v>0.467541666666667</c:v>
                </c:pt>
                <c:pt idx="305">
                  <c:v>0.467541666666667</c:v>
                </c:pt>
                <c:pt idx="306">
                  <c:v>0.467541666666667</c:v>
                </c:pt>
                <c:pt idx="307">
                  <c:v>0.458</c:v>
                </c:pt>
                <c:pt idx="308">
                  <c:v>0.458</c:v>
                </c:pt>
                <c:pt idx="309">
                  <c:v>0.458</c:v>
                </c:pt>
                <c:pt idx="310">
                  <c:v>0.458</c:v>
                </c:pt>
                <c:pt idx="311">
                  <c:v>0.458</c:v>
                </c:pt>
                <c:pt idx="312">
                  <c:v>0.458</c:v>
                </c:pt>
                <c:pt idx="313">
                  <c:v>0.448458333333333</c:v>
                </c:pt>
                <c:pt idx="314">
                  <c:v>0.448458333333333</c:v>
                </c:pt>
                <c:pt idx="315">
                  <c:v>0.448458333333333</c:v>
                </c:pt>
                <c:pt idx="316">
                  <c:v>0.448458333333333</c:v>
                </c:pt>
                <c:pt idx="317">
                  <c:v>0.448458333333333</c:v>
                </c:pt>
                <c:pt idx="318">
                  <c:v>0.448458333333333</c:v>
                </c:pt>
                <c:pt idx="319">
                  <c:v>0.448458333333333</c:v>
                </c:pt>
                <c:pt idx="320">
                  <c:v>0.448458333333333</c:v>
                </c:pt>
                <c:pt idx="321">
                  <c:v>0.438916666666667</c:v>
                </c:pt>
                <c:pt idx="322">
                  <c:v>0.438916666666667</c:v>
                </c:pt>
                <c:pt idx="323">
                  <c:v>0.438916666666667</c:v>
                </c:pt>
                <c:pt idx="324">
                  <c:v>0.438916666666667</c:v>
                </c:pt>
                <c:pt idx="325">
                  <c:v>0.438916666666667</c:v>
                </c:pt>
                <c:pt idx="326">
                  <c:v>0.438916666666667</c:v>
                </c:pt>
                <c:pt idx="327">
                  <c:v>0.438916666666667</c:v>
                </c:pt>
                <c:pt idx="328">
                  <c:v>0.438916666666667</c:v>
                </c:pt>
                <c:pt idx="329">
                  <c:v>0.429375</c:v>
                </c:pt>
                <c:pt idx="330">
                  <c:v>0.429375</c:v>
                </c:pt>
                <c:pt idx="331">
                  <c:v>0.429375</c:v>
                </c:pt>
                <c:pt idx="332">
                  <c:v>0.429375</c:v>
                </c:pt>
                <c:pt idx="333">
                  <c:v>0.429375</c:v>
                </c:pt>
                <c:pt idx="334">
                  <c:v>0.429375</c:v>
                </c:pt>
                <c:pt idx="335">
                  <c:v>0.429375</c:v>
                </c:pt>
                <c:pt idx="336">
                  <c:v>0.419833333333333</c:v>
                </c:pt>
                <c:pt idx="337">
                  <c:v>0.419833333333333</c:v>
                </c:pt>
                <c:pt idx="338">
                  <c:v>0.419833333333333</c:v>
                </c:pt>
                <c:pt idx="339">
                  <c:v>0.419833333333333</c:v>
                </c:pt>
                <c:pt idx="340">
                  <c:v>0.419833333333333</c:v>
                </c:pt>
                <c:pt idx="341">
                  <c:v>0.419833333333333</c:v>
                </c:pt>
                <c:pt idx="342">
                  <c:v>0.419833333333333</c:v>
                </c:pt>
                <c:pt idx="343">
                  <c:v>0.419833333333333</c:v>
                </c:pt>
                <c:pt idx="344">
                  <c:v>0.410291666666667</c:v>
                </c:pt>
                <c:pt idx="345">
                  <c:v>0.410291666666667</c:v>
                </c:pt>
                <c:pt idx="346">
                  <c:v>0.410291666666667</c:v>
                </c:pt>
                <c:pt idx="347">
                  <c:v>0.410291666666667</c:v>
                </c:pt>
                <c:pt idx="348">
                  <c:v>0.410291666666667</c:v>
                </c:pt>
                <c:pt idx="349">
                  <c:v>0.410291666666667</c:v>
                </c:pt>
                <c:pt idx="350">
                  <c:v>0.40075</c:v>
                </c:pt>
                <c:pt idx="351">
                  <c:v>0.40075</c:v>
                </c:pt>
                <c:pt idx="352">
                  <c:v>0.40075</c:v>
                </c:pt>
                <c:pt idx="353">
                  <c:v>0.40075</c:v>
                </c:pt>
                <c:pt idx="354">
                  <c:v>0.40075</c:v>
                </c:pt>
                <c:pt idx="355">
                  <c:v>0.40075</c:v>
                </c:pt>
                <c:pt idx="356">
                  <c:v>0.40075</c:v>
                </c:pt>
                <c:pt idx="357">
                  <c:v>0.40075</c:v>
                </c:pt>
                <c:pt idx="358">
                  <c:v>0.40075</c:v>
                </c:pt>
                <c:pt idx="359">
                  <c:v>0.40075</c:v>
                </c:pt>
                <c:pt idx="360">
                  <c:v>0.391208333333333</c:v>
                </c:pt>
                <c:pt idx="361">
                  <c:v>0.391208333333333</c:v>
                </c:pt>
                <c:pt idx="362">
                  <c:v>0.391208333333333</c:v>
                </c:pt>
                <c:pt idx="363">
                  <c:v>0.391208333333333</c:v>
                </c:pt>
                <c:pt idx="364">
                  <c:v>0.391208333333333</c:v>
                </c:pt>
                <c:pt idx="365">
                  <c:v>0.381666666666667</c:v>
                </c:pt>
                <c:pt idx="366">
                  <c:v>0.381666666666667</c:v>
                </c:pt>
                <c:pt idx="367">
                  <c:v>0.381666666666667</c:v>
                </c:pt>
                <c:pt idx="368">
                  <c:v>0.381666666666667</c:v>
                </c:pt>
                <c:pt idx="369">
                  <c:v>0.381666666666667</c:v>
                </c:pt>
                <c:pt idx="370">
                  <c:v>0.381666666666667</c:v>
                </c:pt>
                <c:pt idx="371">
                  <c:v>0.381666666666667</c:v>
                </c:pt>
                <c:pt idx="372">
                  <c:v>0.381666666666667</c:v>
                </c:pt>
                <c:pt idx="373">
                  <c:v>0.381666666666667</c:v>
                </c:pt>
                <c:pt idx="374">
                  <c:v>0.381666666666667</c:v>
                </c:pt>
                <c:pt idx="375">
                  <c:v>0.381666666666667</c:v>
                </c:pt>
                <c:pt idx="376">
                  <c:v>0.372125</c:v>
                </c:pt>
                <c:pt idx="377">
                  <c:v>0.372125</c:v>
                </c:pt>
                <c:pt idx="378">
                  <c:v>0.372125</c:v>
                </c:pt>
                <c:pt idx="379">
                  <c:v>0.372125</c:v>
                </c:pt>
                <c:pt idx="380">
                  <c:v>0.372125</c:v>
                </c:pt>
                <c:pt idx="381">
                  <c:v>0.372125</c:v>
                </c:pt>
                <c:pt idx="382">
                  <c:v>0.372125</c:v>
                </c:pt>
                <c:pt idx="383">
                  <c:v>0.362583333333333</c:v>
                </c:pt>
                <c:pt idx="384">
                  <c:v>0.362583333333333</c:v>
                </c:pt>
                <c:pt idx="385">
                  <c:v>0.362583333333333</c:v>
                </c:pt>
                <c:pt idx="386">
                  <c:v>0.362583333333333</c:v>
                </c:pt>
                <c:pt idx="387">
                  <c:v>0.362583333333333</c:v>
                </c:pt>
                <c:pt idx="388">
                  <c:v>0.362583333333333</c:v>
                </c:pt>
                <c:pt idx="389">
                  <c:v>0.362583333333333</c:v>
                </c:pt>
                <c:pt idx="390">
                  <c:v>0.362583333333333</c:v>
                </c:pt>
                <c:pt idx="391">
                  <c:v>0.362583333333333</c:v>
                </c:pt>
                <c:pt idx="392">
                  <c:v>0.362583333333333</c:v>
                </c:pt>
                <c:pt idx="393">
                  <c:v>0.362583333333333</c:v>
                </c:pt>
                <c:pt idx="394">
                  <c:v>0.353041666666667</c:v>
                </c:pt>
                <c:pt idx="395">
                  <c:v>0.353041666666667</c:v>
                </c:pt>
                <c:pt idx="396">
                  <c:v>0.353041666666667</c:v>
                </c:pt>
                <c:pt idx="397">
                  <c:v>0.353041666666667</c:v>
                </c:pt>
                <c:pt idx="398">
                  <c:v>0.353041666666667</c:v>
                </c:pt>
                <c:pt idx="399">
                  <c:v>0.353041666666667</c:v>
                </c:pt>
                <c:pt idx="400">
                  <c:v>0.353041666666667</c:v>
                </c:pt>
                <c:pt idx="401">
                  <c:v>0.3435</c:v>
                </c:pt>
                <c:pt idx="402">
                  <c:v>0.3435</c:v>
                </c:pt>
                <c:pt idx="403">
                  <c:v>0.3435</c:v>
                </c:pt>
                <c:pt idx="404">
                  <c:v>0.3435</c:v>
                </c:pt>
                <c:pt idx="405">
                  <c:v>0.3435</c:v>
                </c:pt>
                <c:pt idx="406">
                  <c:v>0.3435</c:v>
                </c:pt>
                <c:pt idx="407">
                  <c:v>0.3435</c:v>
                </c:pt>
                <c:pt idx="408">
                  <c:v>0.3435</c:v>
                </c:pt>
                <c:pt idx="409">
                  <c:v>0.3435</c:v>
                </c:pt>
                <c:pt idx="410">
                  <c:v>0.3435</c:v>
                </c:pt>
                <c:pt idx="411">
                  <c:v>0.3435</c:v>
                </c:pt>
                <c:pt idx="412">
                  <c:v>0.3435</c:v>
                </c:pt>
                <c:pt idx="413">
                  <c:v>0.3435</c:v>
                </c:pt>
                <c:pt idx="414">
                  <c:v>0.3435</c:v>
                </c:pt>
                <c:pt idx="415">
                  <c:v>0.333958333333333</c:v>
                </c:pt>
                <c:pt idx="416">
                  <c:v>0.333958333333333</c:v>
                </c:pt>
                <c:pt idx="417">
                  <c:v>0.333958333333333</c:v>
                </c:pt>
                <c:pt idx="418">
                  <c:v>0.333958333333333</c:v>
                </c:pt>
                <c:pt idx="419">
                  <c:v>0.333958333333333</c:v>
                </c:pt>
                <c:pt idx="420">
                  <c:v>0.333958333333333</c:v>
                </c:pt>
                <c:pt idx="421">
                  <c:v>0.333958333333333</c:v>
                </c:pt>
                <c:pt idx="422">
                  <c:v>0.333958333333333</c:v>
                </c:pt>
                <c:pt idx="423">
                  <c:v>0.333958333333333</c:v>
                </c:pt>
                <c:pt idx="424">
                  <c:v>0.333958333333333</c:v>
                </c:pt>
                <c:pt idx="425">
                  <c:v>0.333958333333333</c:v>
                </c:pt>
                <c:pt idx="426">
                  <c:v>0.333958333333333</c:v>
                </c:pt>
                <c:pt idx="427">
                  <c:v>0.333958333333333</c:v>
                </c:pt>
                <c:pt idx="428">
                  <c:v>0.333958333333333</c:v>
                </c:pt>
                <c:pt idx="429">
                  <c:v>0.333958333333333</c:v>
                </c:pt>
                <c:pt idx="430">
                  <c:v>0.324416666666667</c:v>
                </c:pt>
                <c:pt idx="431">
                  <c:v>0.324416666666667</c:v>
                </c:pt>
                <c:pt idx="432">
                  <c:v>0.324416666666667</c:v>
                </c:pt>
                <c:pt idx="433">
                  <c:v>0.324416666666667</c:v>
                </c:pt>
                <c:pt idx="434">
                  <c:v>0.324416666666667</c:v>
                </c:pt>
                <c:pt idx="435">
                  <c:v>0.324416666666667</c:v>
                </c:pt>
                <c:pt idx="436">
                  <c:v>0.324416666666667</c:v>
                </c:pt>
                <c:pt idx="437">
                  <c:v>0.324416666666667</c:v>
                </c:pt>
                <c:pt idx="438">
                  <c:v>0.324416666666667</c:v>
                </c:pt>
                <c:pt idx="439">
                  <c:v>0.324416666666667</c:v>
                </c:pt>
                <c:pt idx="440">
                  <c:v>0.324416666666667</c:v>
                </c:pt>
                <c:pt idx="441">
                  <c:v>0.324416666666667</c:v>
                </c:pt>
                <c:pt idx="442">
                  <c:v>0.324416666666667</c:v>
                </c:pt>
                <c:pt idx="443">
                  <c:v>0.324416666666667</c:v>
                </c:pt>
                <c:pt idx="444">
                  <c:v>0.324416666666667</c:v>
                </c:pt>
                <c:pt idx="445">
                  <c:v>0.324416666666667</c:v>
                </c:pt>
                <c:pt idx="446">
                  <c:v>0.324416666666667</c:v>
                </c:pt>
                <c:pt idx="447">
                  <c:v>0.314875</c:v>
                </c:pt>
                <c:pt idx="448">
                  <c:v>0.314875</c:v>
                </c:pt>
                <c:pt idx="449">
                  <c:v>0.314875</c:v>
                </c:pt>
                <c:pt idx="450">
                  <c:v>0.314875</c:v>
                </c:pt>
                <c:pt idx="451">
                  <c:v>0.314875</c:v>
                </c:pt>
                <c:pt idx="452">
                  <c:v>0.314875</c:v>
                </c:pt>
                <c:pt idx="453">
                  <c:v>0.314875</c:v>
                </c:pt>
                <c:pt idx="454">
                  <c:v>0.314875</c:v>
                </c:pt>
                <c:pt idx="455">
                  <c:v>0.314875</c:v>
                </c:pt>
                <c:pt idx="456">
                  <c:v>0.314875</c:v>
                </c:pt>
                <c:pt idx="457">
                  <c:v>0.305333333333333</c:v>
                </c:pt>
                <c:pt idx="458">
                  <c:v>0.305333333333333</c:v>
                </c:pt>
                <c:pt idx="459">
                  <c:v>0.305333333333333</c:v>
                </c:pt>
                <c:pt idx="460">
                  <c:v>0.305333333333333</c:v>
                </c:pt>
                <c:pt idx="461">
                  <c:v>0.305333333333333</c:v>
                </c:pt>
                <c:pt idx="462">
                  <c:v>0.305333333333333</c:v>
                </c:pt>
                <c:pt idx="463">
                  <c:v>0.305333333333333</c:v>
                </c:pt>
                <c:pt idx="464">
                  <c:v>0.305333333333333</c:v>
                </c:pt>
                <c:pt idx="465">
                  <c:v>0.305333333333333</c:v>
                </c:pt>
                <c:pt idx="466">
                  <c:v>0.305333333333333</c:v>
                </c:pt>
                <c:pt idx="467">
                  <c:v>0.305333333333333</c:v>
                </c:pt>
                <c:pt idx="468">
                  <c:v>0.305333333333333</c:v>
                </c:pt>
                <c:pt idx="469">
                  <c:v>0.305333333333333</c:v>
                </c:pt>
                <c:pt idx="470">
                  <c:v>0.305333333333333</c:v>
                </c:pt>
                <c:pt idx="471">
                  <c:v>0.305333333333333</c:v>
                </c:pt>
                <c:pt idx="472">
                  <c:v>0.305333333333333</c:v>
                </c:pt>
                <c:pt idx="473">
                  <c:v>0.305333333333333</c:v>
                </c:pt>
                <c:pt idx="474">
                  <c:v>0.305333333333333</c:v>
                </c:pt>
                <c:pt idx="475">
                  <c:v>0.305333333333333</c:v>
                </c:pt>
                <c:pt idx="476">
                  <c:v>0.305333333333333</c:v>
                </c:pt>
                <c:pt idx="477">
                  <c:v>0.305333333333333</c:v>
                </c:pt>
                <c:pt idx="478">
                  <c:v>0.305333333333333</c:v>
                </c:pt>
                <c:pt idx="479">
                  <c:v>0.305333333333333</c:v>
                </c:pt>
                <c:pt idx="480">
                  <c:v>0.305333333333333</c:v>
                </c:pt>
                <c:pt idx="481">
                  <c:v>0.305333333333333</c:v>
                </c:pt>
                <c:pt idx="482">
                  <c:v>0.295791666666667</c:v>
                </c:pt>
                <c:pt idx="483">
                  <c:v>0.295791666666667</c:v>
                </c:pt>
                <c:pt idx="484">
                  <c:v>0.295791666666667</c:v>
                </c:pt>
                <c:pt idx="485">
                  <c:v>0.295791666666667</c:v>
                </c:pt>
                <c:pt idx="486">
                  <c:v>0.295791666666667</c:v>
                </c:pt>
                <c:pt idx="487">
                  <c:v>0.295791666666667</c:v>
                </c:pt>
                <c:pt idx="488">
                  <c:v>0.295791666666667</c:v>
                </c:pt>
                <c:pt idx="489">
                  <c:v>0.295791666666667</c:v>
                </c:pt>
                <c:pt idx="490">
                  <c:v>0.295791666666667</c:v>
                </c:pt>
                <c:pt idx="491">
                  <c:v>0.295791666666667</c:v>
                </c:pt>
                <c:pt idx="492">
                  <c:v>0.295791666666667</c:v>
                </c:pt>
                <c:pt idx="493">
                  <c:v>0.295791666666667</c:v>
                </c:pt>
                <c:pt idx="494">
                  <c:v>0.28625</c:v>
                </c:pt>
                <c:pt idx="495">
                  <c:v>0.28625</c:v>
                </c:pt>
                <c:pt idx="496">
                  <c:v>0.28625</c:v>
                </c:pt>
                <c:pt idx="497">
                  <c:v>0.28625</c:v>
                </c:pt>
                <c:pt idx="498">
                  <c:v>0.28625</c:v>
                </c:pt>
                <c:pt idx="499">
                  <c:v>0.28625</c:v>
                </c:pt>
                <c:pt idx="500">
                  <c:v>0.28625</c:v>
                </c:pt>
                <c:pt idx="501">
                  <c:v>0.276708333333333</c:v>
                </c:pt>
                <c:pt idx="502">
                  <c:v>0.276708333333333</c:v>
                </c:pt>
                <c:pt idx="503">
                  <c:v>0.276708333333333</c:v>
                </c:pt>
                <c:pt idx="504">
                  <c:v>0.276708333333333</c:v>
                </c:pt>
                <c:pt idx="505">
                  <c:v>0.276708333333333</c:v>
                </c:pt>
                <c:pt idx="506">
                  <c:v>0.276708333333333</c:v>
                </c:pt>
                <c:pt idx="507">
                  <c:v>0.276708333333333</c:v>
                </c:pt>
                <c:pt idx="508">
                  <c:v>0.276708333333333</c:v>
                </c:pt>
                <c:pt idx="509">
                  <c:v>0.276708333333333</c:v>
                </c:pt>
                <c:pt idx="510">
                  <c:v>0.276708333333333</c:v>
                </c:pt>
                <c:pt idx="511">
                  <c:v>0.276708333333333</c:v>
                </c:pt>
                <c:pt idx="512">
                  <c:v>0.276708333333333</c:v>
                </c:pt>
                <c:pt idx="513">
                  <c:v>0.276708333333333</c:v>
                </c:pt>
                <c:pt idx="514">
                  <c:v>0.276708333333333</c:v>
                </c:pt>
                <c:pt idx="515">
                  <c:v>0.276708333333333</c:v>
                </c:pt>
                <c:pt idx="516">
                  <c:v>0.276708333333333</c:v>
                </c:pt>
                <c:pt idx="517">
                  <c:v>0.276708333333333</c:v>
                </c:pt>
                <c:pt idx="518">
                  <c:v>0.276708333333333</c:v>
                </c:pt>
                <c:pt idx="519">
                  <c:v>0.267166666666667</c:v>
                </c:pt>
                <c:pt idx="520">
                  <c:v>0.267166666666667</c:v>
                </c:pt>
                <c:pt idx="521">
                  <c:v>0.267166666666667</c:v>
                </c:pt>
                <c:pt idx="522">
                  <c:v>0.267166666666667</c:v>
                </c:pt>
                <c:pt idx="523">
                  <c:v>0.267166666666667</c:v>
                </c:pt>
                <c:pt idx="524">
                  <c:v>0.267166666666667</c:v>
                </c:pt>
                <c:pt idx="525">
                  <c:v>0.267166666666667</c:v>
                </c:pt>
                <c:pt idx="526">
                  <c:v>0.267166666666667</c:v>
                </c:pt>
                <c:pt idx="527">
                  <c:v>0.267166666666667</c:v>
                </c:pt>
                <c:pt idx="528">
                  <c:v>0.267166666666667</c:v>
                </c:pt>
                <c:pt idx="529">
                  <c:v>0.267166666666667</c:v>
                </c:pt>
                <c:pt idx="530">
                  <c:v>0.267166666666667</c:v>
                </c:pt>
                <c:pt idx="531">
                  <c:v>0.267166666666667</c:v>
                </c:pt>
                <c:pt idx="532">
                  <c:v>0.267166666666667</c:v>
                </c:pt>
                <c:pt idx="533">
                  <c:v>0.267166666666667</c:v>
                </c:pt>
                <c:pt idx="534">
                  <c:v>0.267166666666667</c:v>
                </c:pt>
                <c:pt idx="535">
                  <c:v>0.267166666666667</c:v>
                </c:pt>
                <c:pt idx="536">
                  <c:v>0.267166666666667</c:v>
                </c:pt>
                <c:pt idx="537">
                  <c:v>0.267166666666667</c:v>
                </c:pt>
                <c:pt idx="538">
                  <c:v>0.267166666666667</c:v>
                </c:pt>
                <c:pt idx="539">
                  <c:v>0.257625</c:v>
                </c:pt>
                <c:pt idx="540">
                  <c:v>0.257625</c:v>
                </c:pt>
                <c:pt idx="541">
                  <c:v>0.257625</c:v>
                </c:pt>
                <c:pt idx="542">
                  <c:v>0.257625</c:v>
                </c:pt>
                <c:pt idx="543">
                  <c:v>0.257625</c:v>
                </c:pt>
                <c:pt idx="544">
                  <c:v>0.257625</c:v>
                </c:pt>
                <c:pt idx="545">
                  <c:v>0.257625</c:v>
                </c:pt>
                <c:pt idx="546">
                  <c:v>0.257625</c:v>
                </c:pt>
                <c:pt idx="547">
                  <c:v>0.257625</c:v>
                </c:pt>
                <c:pt idx="548">
                  <c:v>0.257625</c:v>
                </c:pt>
                <c:pt idx="549">
                  <c:v>0.257625</c:v>
                </c:pt>
                <c:pt idx="550">
                  <c:v>0.257625</c:v>
                </c:pt>
                <c:pt idx="551">
                  <c:v>0.257625</c:v>
                </c:pt>
                <c:pt idx="552">
                  <c:v>0.257625</c:v>
                </c:pt>
                <c:pt idx="553">
                  <c:v>0.257625</c:v>
                </c:pt>
                <c:pt idx="554">
                  <c:v>0.257625</c:v>
                </c:pt>
                <c:pt idx="555">
                  <c:v>0.257625</c:v>
                </c:pt>
                <c:pt idx="556">
                  <c:v>0.257625</c:v>
                </c:pt>
                <c:pt idx="557">
                  <c:v>0.257625</c:v>
                </c:pt>
                <c:pt idx="558">
                  <c:v>0.257625</c:v>
                </c:pt>
                <c:pt idx="559">
                  <c:v>0.257625</c:v>
                </c:pt>
                <c:pt idx="560">
                  <c:v>0.257625</c:v>
                </c:pt>
                <c:pt idx="561">
                  <c:v>0.257625</c:v>
                </c:pt>
                <c:pt idx="562">
                  <c:v>0.248083333333333</c:v>
                </c:pt>
                <c:pt idx="563">
                  <c:v>0.248083333333333</c:v>
                </c:pt>
                <c:pt idx="564">
                  <c:v>0.248083333333333</c:v>
                </c:pt>
                <c:pt idx="565">
                  <c:v>0.248083333333333</c:v>
                </c:pt>
                <c:pt idx="566">
                  <c:v>0.248083333333333</c:v>
                </c:pt>
                <c:pt idx="567">
                  <c:v>0.248083333333333</c:v>
                </c:pt>
                <c:pt idx="568">
                  <c:v>0.248083333333333</c:v>
                </c:pt>
                <c:pt idx="569">
                  <c:v>0.248083333333333</c:v>
                </c:pt>
                <c:pt idx="570">
                  <c:v>0.248083333333333</c:v>
                </c:pt>
                <c:pt idx="571">
                  <c:v>0.248083333333333</c:v>
                </c:pt>
                <c:pt idx="572">
                  <c:v>0.248083333333333</c:v>
                </c:pt>
                <c:pt idx="573">
                  <c:v>0.248083333333333</c:v>
                </c:pt>
                <c:pt idx="574">
                  <c:v>0.248083333333333</c:v>
                </c:pt>
                <c:pt idx="575">
                  <c:v>0.248083333333333</c:v>
                </c:pt>
                <c:pt idx="576">
                  <c:v>0.248083333333333</c:v>
                </c:pt>
                <c:pt idx="577">
                  <c:v>0.248083333333333</c:v>
                </c:pt>
                <c:pt idx="578">
                  <c:v>0.248083333333333</c:v>
                </c:pt>
                <c:pt idx="579">
                  <c:v>0.248083333333333</c:v>
                </c:pt>
                <c:pt idx="580">
                  <c:v>0.248083333333333</c:v>
                </c:pt>
                <c:pt idx="581">
                  <c:v>0.248083333333333</c:v>
                </c:pt>
                <c:pt idx="582">
                  <c:v>0.248083333333333</c:v>
                </c:pt>
                <c:pt idx="583">
                  <c:v>0.248083333333333</c:v>
                </c:pt>
                <c:pt idx="584">
                  <c:v>0.238541666666667</c:v>
                </c:pt>
                <c:pt idx="585">
                  <c:v>0.238541666666667</c:v>
                </c:pt>
                <c:pt idx="586">
                  <c:v>0.238541666666667</c:v>
                </c:pt>
                <c:pt idx="587">
                  <c:v>0.238541666666667</c:v>
                </c:pt>
                <c:pt idx="588">
                  <c:v>0.238541666666667</c:v>
                </c:pt>
                <c:pt idx="589">
                  <c:v>0.238541666666667</c:v>
                </c:pt>
                <c:pt idx="590">
                  <c:v>0.238541666666667</c:v>
                </c:pt>
                <c:pt idx="591">
                  <c:v>0.238541666666667</c:v>
                </c:pt>
                <c:pt idx="592">
                  <c:v>0.238541666666667</c:v>
                </c:pt>
                <c:pt idx="593">
                  <c:v>0.238541666666667</c:v>
                </c:pt>
                <c:pt idx="594">
                  <c:v>0.238541666666667</c:v>
                </c:pt>
                <c:pt idx="595">
                  <c:v>0.238541666666667</c:v>
                </c:pt>
                <c:pt idx="596">
                  <c:v>0.238541666666667</c:v>
                </c:pt>
                <c:pt idx="597">
                  <c:v>0.238541666666667</c:v>
                </c:pt>
                <c:pt idx="598">
                  <c:v>0.238541666666667</c:v>
                </c:pt>
                <c:pt idx="599">
                  <c:v>0.238541666666667</c:v>
                </c:pt>
                <c:pt idx="600">
                  <c:v>0.238541666666667</c:v>
                </c:pt>
                <c:pt idx="601">
                  <c:v>0.229</c:v>
                </c:pt>
                <c:pt idx="602">
                  <c:v>0.229</c:v>
                </c:pt>
                <c:pt idx="603">
                  <c:v>0.229</c:v>
                </c:pt>
                <c:pt idx="604">
                  <c:v>0.229</c:v>
                </c:pt>
                <c:pt idx="605">
                  <c:v>0.229</c:v>
                </c:pt>
                <c:pt idx="606">
                  <c:v>0.229</c:v>
                </c:pt>
                <c:pt idx="607">
                  <c:v>0.229</c:v>
                </c:pt>
                <c:pt idx="608">
                  <c:v>0.229</c:v>
                </c:pt>
                <c:pt idx="609">
                  <c:v>0.229</c:v>
                </c:pt>
                <c:pt idx="610">
                  <c:v>0.229</c:v>
                </c:pt>
                <c:pt idx="611">
                  <c:v>0.229</c:v>
                </c:pt>
                <c:pt idx="612">
                  <c:v>0.229</c:v>
                </c:pt>
                <c:pt idx="613">
                  <c:v>0.229</c:v>
                </c:pt>
                <c:pt idx="614">
                  <c:v>0.229</c:v>
                </c:pt>
                <c:pt idx="615">
                  <c:v>0.229</c:v>
                </c:pt>
                <c:pt idx="616">
                  <c:v>0.229</c:v>
                </c:pt>
                <c:pt idx="617">
                  <c:v>0.229</c:v>
                </c:pt>
                <c:pt idx="618">
                  <c:v>0.229</c:v>
                </c:pt>
                <c:pt idx="619">
                  <c:v>0.229</c:v>
                </c:pt>
                <c:pt idx="620">
                  <c:v>0.229</c:v>
                </c:pt>
                <c:pt idx="621">
                  <c:v>0.229</c:v>
                </c:pt>
                <c:pt idx="622">
                  <c:v>0.229</c:v>
                </c:pt>
                <c:pt idx="623">
                  <c:v>0.229</c:v>
                </c:pt>
                <c:pt idx="624">
                  <c:v>0.229</c:v>
                </c:pt>
                <c:pt idx="625">
                  <c:v>0.219458333333333</c:v>
                </c:pt>
                <c:pt idx="626">
                  <c:v>0.219458333333333</c:v>
                </c:pt>
                <c:pt idx="627">
                  <c:v>0.219458333333333</c:v>
                </c:pt>
                <c:pt idx="628">
                  <c:v>0.219458333333333</c:v>
                </c:pt>
                <c:pt idx="629">
                  <c:v>0.219458333333333</c:v>
                </c:pt>
                <c:pt idx="630">
                  <c:v>0.219458333333333</c:v>
                </c:pt>
                <c:pt idx="631">
                  <c:v>0.219458333333333</c:v>
                </c:pt>
                <c:pt idx="632">
                  <c:v>0.219458333333333</c:v>
                </c:pt>
                <c:pt idx="633">
                  <c:v>0.219458333333333</c:v>
                </c:pt>
                <c:pt idx="634">
                  <c:v>0.219458333333333</c:v>
                </c:pt>
                <c:pt idx="635">
                  <c:v>0.219458333333333</c:v>
                </c:pt>
                <c:pt idx="636">
                  <c:v>0.219458333333333</c:v>
                </c:pt>
                <c:pt idx="637">
                  <c:v>0.219458333333333</c:v>
                </c:pt>
                <c:pt idx="638">
                  <c:v>0.219458333333333</c:v>
                </c:pt>
                <c:pt idx="639">
                  <c:v>0.219458333333333</c:v>
                </c:pt>
                <c:pt idx="640">
                  <c:v>0.219458333333333</c:v>
                </c:pt>
                <c:pt idx="641">
                  <c:v>0.219458333333333</c:v>
                </c:pt>
                <c:pt idx="642">
                  <c:v>0.219458333333333</c:v>
                </c:pt>
                <c:pt idx="643">
                  <c:v>0.219458333333333</c:v>
                </c:pt>
                <c:pt idx="644">
                  <c:v>0.219458333333333</c:v>
                </c:pt>
                <c:pt idx="645">
                  <c:v>0.219458333333333</c:v>
                </c:pt>
                <c:pt idx="646">
                  <c:v>0.219458333333333</c:v>
                </c:pt>
                <c:pt idx="647">
                  <c:v>0.219458333333333</c:v>
                </c:pt>
                <c:pt idx="648">
                  <c:v>0.219458333333333</c:v>
                </c:pt>
                <c:pt idx="649">
                  <c:v>0.219458333333333</c:v>
                </c:pt>
                <c:pt idx="650">
                  <c:v>0.219458333333333</c:v>
                </c:pt>
                <c:pt idx="651">
                  <c:v>0.219458333333333</c:v>
                </c:pt>
                <c:pt idx="652">
                  <c:v>0.219458333333333</c:v>
                </c:pt>
                <c:pt idx="653">
                  <c:v>0.219458333333333</c:v>
                </c:pt>
                <c:pt idx="654">
                  <c:v>0.209916666666667</c:v>
                </c:pt>
                <c:pt idx="655">
                  <c:v>0.209916666666667</c:v>
                </c:pt>
                <c:pt idx="656">
                  <c:v>0.209916666666667</c:v>
                </c:pt>
                <c:pt idx="657">
                  <c:v>0.209916666666667</c:v>
                </c:pt>
                <c:pt idx="658">
                  <c:v>0.209916666666667</c:v>
                </c:pt>
                <c:pt idx="659">
                  <c:v>0.209916666666667</c:v>
                </c:pt>
                <c:pt idx="660">
                  <c:v>0.209916666666667</c:v>
                </c:pt>
                <c:pt idx="661">
                  <c:v>0.209916666666667</c:v>
                </c:pt>
                <c:pt idx="662">
                  <c:v>0.209916666666667</c:v>
                </c:pt>
                <c:pt idx="663">
                  <c:v>0.209916666666667</c:v>
                </c:pt>
                <c:pt idx="664">
                  <c:v>0.209916666666667</c:v>
                </c:pt>
                <c:pt idx="665">
                  <c:v>0.209916666666667</c:v>
                </c:pt>
                <c:pt idx="666">
                  <c:v>0.209916666666667</c:v>
                </c:pt>
                <c:pt idx="667">
                  <c:v>0.209916666666667</c:v>
                </c:pt>
                <c:pt idx="668">
                  <c:v>0.209916666666667</c:v>
                </c:pt>
                <c:pt idx="669">
                  <c:v>0.209916666666667</c:v>
                </c:pt>
                <c:pt idx="670">
                  <c:v>0.209916666666667</c:v>
                </c:pt>
                <c:pt idx="671">
                  <c:v>0.209916666666667</c:v>
                </c:pt>
                <c:pt idx="672">
                  <c:v>0.209916666666667</c:v>
                </c:pt>
                <c:pt idx="673">
                  <c:v>0.209916666666667</c:v>
                </c:pt>
                <c:pt idx="674">
                  <c:v>0.200375</c:v>
                </c:pt>
                <c:pt idx="675">
                  <c:v>0.200375</c:v>
                </c:pt>
                <c:pt idx="676">
                  <c:v>0.200375</c:v>
                </c:pt>
                <c:pt idx="677">
                  <c:v>0.200375</c:v>
                </c:pt>
                <c:pt idx="678">
                  <c:v>0.200375</c:v>
                </c:pt>
                <c:pt idx="679">
                  <c:v>0.200375</c:v>
                </c:pt>
                <c:pt idx="680">
                  <c:v>0.200375</c:v>
                </c:pt>
                <c:pt idx="681">
                  <c:v>0.200375</c:v>
                </c:pt>
                <c:pt idx="682">
                  <c:v>0.200375</c:v>
                </c:pt>
                <c:pt idx="683">
                  <c:v>0.200375</c:v>
                </c:pt>
                <c:pt idx="684">
                  <c:v>0.200375</c:v>
                </c:pt>
                <c:pt idx="685">
                  <c:v>0.200375</c:v>
                </c:pt>
                <c:pt idx="686">
                  <c:v>0.200375</c:v>
                </c:pt>
                <c:pt idx="687">
                  <c:v>0.200375</c:v>
                </c:pt>
                <c:pt idx="688">
                  <c:v>0.200375</c:v>
                </c:pt>
                <c:pt idx="689">
                  <c:v>0.200375</c:v>
                </c:pt>
                <c:pt idx="690">
                  <c:v>0.200375</c:v>
                </c:pt>
                <c:pt idx="691">
                  <c:v>0.200375</c:v>
                </c:pt>
                <c:pt idx="692">
                  <c:v>0.200375</c:v>
                </c:pt>
                <c:pt idx="693">
                  <c:v>0.200375</c:v>
                </c:pt>
                <c:pt idx="694">
                  <c:v>0.200375</c:v>
                </c:pt>
                <c:pt idx="695">
                  <c:v>0.190833333333333</c:v>
                </c:pt>
                <c:pt idx="696">
                  <c:v>0.190833333333333</c:v>
                </c:pt>
                <c:pt idx="697">
                  <c:v>0.190833333333333</c:v>
                </c:pt>
                <c:pt idx="698">
                  <c:v>0.190833333333333</c:v>
                </c:pt>
                <c:pt idx="699">
                  <c:v>0.190833333333333</c:v>
                </c:pt>
                <c:pt idx="700">
                  <c:v>0.190833333333333</c:v>
                </c:pt>
                <c:pt idx="701">
                  <c:v>0.190833333333333</c:v>
                </c:pt>
                <c:pt idx="702">
                  <c:v>0.190833333333333</c:v>
                </c:pt>
                <c:pt idx="703">
                  <c:v>0.190833333333333</c:v>
                </c:pt>
                <c:pt idx="704">
                  <c:v>0.190833333333333</c:v>
                </c:pt>
                <c:pt idx="705">
                  <c:v>0.190833333333333</c:v>
                </c:pt>
                <c:pt idx="706">
                  <c:v>0.190833333333333</c:v>
                </c:pt>
                <c:pt idx="707">
                  <c:v>0.190833333333333</c:v>
                </c:pt>
                <c:pt idx="708">
                  <c:v>0.190833333333333</c:v>
                </c:pt>
                <c:pt idx="709">
                  <c:v>0.190833333333333</c:v>
                </c:pt>
                <c:pt idx="710">
                  <c:v>0.190833333333333</c:v>
                </c:pt>
                <c:pt idx="711">
                  <c:v>0.190833333333333</c:v>
                </c:pt>
                <c:pt idx="712">
                  <c:v>0.190833333333333</c:v>
                </c:pt>
                <c:pt idx="713">
                  <c:v>0.190833333333333</c:v>
                </c:pt>
                <c:pt idx="714">
                  <c:v>0.190833333333333</c:v>
                </c:pt>
                <c:pt idx="715">
                  <c:v>0.190833333333333</c:v>
                </c:pt>
                <c:pt idx="716">
                  <c:v>0.190833333333333</c:v>
                </c:pt>
                <c:pt idx="717">
                  <c:v>0.190833333333333</c:v>
                </c:pt>
                <c:pt idx="718">
                  <c:v>0.190833333333333</c:v>
                </c:pt>
                <c:pt idx="719">
                  <c:v>0.190833333333333</c:v>
                </c:pt>
                <c:pt idx="720">
                  <c:v>0.181291666666667</c:v>
                </c:pt>
                <c:pt idx="721">
                  <c:v>0.181291666666667</c:v>
                </c:pt>
                <c:pt idx="722">
                  <c:v>0.181291666666667</c:v>
                </c:pt>
                <c:pt idx="723">
                  <c:v>0.181291666666667</c:v>
                </c:pt>
                <c:pt idx="724">
                  <c:v>0.181291666666667</c:v>
                </c:pt>
                <c:pt idx="725">
                  <c:v>0.181291666666667</c:v>
                </c:pt>
                <c:pt idx="726">
                  <c:v>0.181291666666667</c:v>
                </c:pt>
                <c:pt idx="727">
                  <c:v>0.181291666666667</c:v>
                </c:pt>
                <c:pt idx="728">
                  <c:v>0.181291666666667</c:v>
                </c:pt>
                <c:pt idx="729">
                  <c:v>0.181291666666667</c:v>
                </c:pt>
                <c:pt idx="730">
                  <c:v>0.181291666666667</c:v>
                </c:pt>
                <c:pt idx="731">
                  <c:v>0.181291666666667</c:v>
                </c:pt>
                <c:pt idx="732">
                  <c:v>0.181291666666667</c:v>
                </c:pt>
                <c:pt idx="733">
                  <c:v>0.181291666666667</c:v>
                </c:pt>
                <c:pt idx="734">
                  <c:v>0.181291666666667</c:v>
                </c:pt>
                <c:pt idx="735">
                  <c:v>0.181291666666667</c:v>
                </c:pt>
                <c:pt idx="736">
                  <c:v>0.181291666666667</c:v>
                </c:pt>
                <c:pt idx="737">
                  <c:v>0.181291666666667</c:v>
                </c:pt>
                <c:pt idx="738">
                  <c:v>0.181291666666667</c:v>
                </c:pt>
                <c:pt idx="739">
                  <c:v>0.181291666666667</c:v>
                </c:pt>
                <c:pt idx="740">
                  <c:v>0.181291666666667</c:v>
                </c:pt>
                <c:pt idx="741">
                  <c:v>0.181291666666667</c:v>
                </c:pt>
                <c:pt idx="742">
                  <c:v>0.181291666666667</c:v>
                </c:pt>
                <c:pt idx="743">
                  <c:v>0.181291666666667</c:v>
                </c:pt>
                <c:pt idx="744">
                  <c:v>0.181291666666667</c:v>
                </c:pt>
                <c:pt idx="745">
                  <c:v>0.181291666666667</c:v>
                </c:pt>
                <c:pt idx="746">
                  <c:v>0.181291666666667</c:v>
                </c:pt>
                <c:pt idx="747">
                  <c:v>0.181291666666667</c:v>
                </c:pt>
                <c:pt idx="748">
                  <c:v>0.17175</c:v>
                </c:pt>
                <c:pt idx="749">
                  <c:v>0.17175</c:v>
                </c:pt>
                <c:pt idx="750">
                  <c:v>0.17175</c:v>
                </c:pt>
                <c:pt idx="751">
                  <c:v>0.17175</c:v>
                </c:pt>
                <c:pt idx="752">
                  <c:v>0.17175</c:v>
                </c:pt>
                <c:pt idx="753">
                  <c:v>0.17175</c:v>
                </c:pt>
                <c:pt idx="754">
                  <c:v>0.17175</c:v>
                </c:pt>
                <c:pt idx="755">
                  <c:v>0.17175</c:v>
                </c:pt>
                <c:pt idx="756">
                  <c:v>0.17175</c:v>
                </c:pt>
                <c:pt idx="757">
                  <c:v>0.17175</c:v>
                </c:pt>
                <c:pt idx="758">
                  <c:v>0.17175</c:v>
                </c:pt>
                <c:pt idx="759">
                  <c:v>0.17175</c:v>
                </c:pt>
                <c:pt idx="760">
                  <c:v>0.17175</c:v>
                </c:pt>
                <c:pt idx="761">
                  <c:v>0.17175</c:v>
                </c:pt>
                <c:pt idx="762">
                  <c:v>0.17175</c:v>
                </c:pt>
                <c:pt idx="763">
                  <c:v>0.17175</c:v>
                </c:pt>
                <c:pt idx="764">
                  <c:v>0.17175</c:v>
                </c:pt>
                <c:pt idx="765">
                  <c:v>0.17175</c:v>
                </c:pt>
                <c:pt idx="766">
                  <c:v>0.17175</c:v>
                </c:pt>
                <c:pt idx="767">
                  <c:v>0.17175</c:v>
                </c:pt>
                <c:pt idx="768">
                  <c:v>0.17175</c:v>
                </c:pt>
                <c:pt idx="769">
                  <c:v>0.17175</c:v>
                </c:pt>
                <c:pt idx="770">
                  <c:v>0.17175</c:v>
                </c:pt>
                <c:pt idx="771">
                  <c:v>0.17175</c:v>
                </c:pt>
                <c:pt idx="772">
                  <c:v>0.17175</c:v>
                </c:pt>
                <c:pt idx="773">
                  <c:v>0.17175</c:v>
                </c:pt>
                <c:pt idx="774">
                  <c:v>0.17175</c:v>
                </c:pt>
                <c:pt idx="775">
                  <c:v>0.17175</c:v>
                </c:pt>
                <c:pt idx="776">
                  <c:v>0.17175</c:v>
                </c:pt>
                <c:pt idx="777">
                  <c:v>0.17175</c:v>
                </c:pt>
                <c:pt idx="778">
                  <c:v>0.17175</c:v>
                </c:pt>
                <c:pt idx="779">
                  <c:v>0.17175</c:v>
                </c:pt>
                <c:pt idx="780">
                  <c:v>0.17175</c:v>
                </c:pt>
                <c:pt idx="781">
                  <c:v>0.17175</c:v>
                </c:pt>
                <c:pt idx="782">
                  <c:v>0.17175</c:v>
                </c:pt>
                <c:pt idx="783">
                  <c:v>0.162208333333333</c:v>
                </c:pt>
                <c:pt idx="784">
                  <c:v>0.162208333333333</c:v>
                </c:pt>
                <c:pt idx="785">
                  <c:v>0.162208333333333</c:v>
                </c:pt>
                <c:pt idx="786">
                  <c:v>0.162208333333333</c:v>
                </c:pt>
                <c:pt idx="787">
                  <c:v>0.162208333333333</c:v>
                </c:pt>
                <c:pt idx="788">
                  <c:v>0.162208333333333</c:v>
                </c:pt>
                <c:pt idx="789">
                  <c:v>0.162208333333333</c:v>
                </c:pt>
                <c:pt idx="790">
                  <c:v>0.162208333333333</c:v>
                </c:pt>
                <c:pt idx="791">
                  <c:v>0.162208333333333</c:v>
                </c:pt>
                <c:pt idx="792">
                  <c:v>0.162208333333333</c:v>
                </c:pt>
                <c:pt idx="793">
                  <c:v>0.162208333333333</c:v>
                </c:pt>
                <c:pt idx="794">
                  <c:v>0.162208333333333</c:v>
                </c:pt>
                <c:pt idx="795">
                  <c:v>0.162208333333333</c:v>
                </c:pt>
                <c:pt idx="796">
                  <c:v>0.162208333333333</c:v>
                </c:pt>
                <c:pt idx="797">
                  <c:v>0.162208333333333</c:v>
                </c:pt>
                <c:pt idx="798">
                  <c:v>0.162208333333333</c:v>
                </c:pt>
                <c:pt idx="799">
                  <c:v>0.162208333333333</c:v>
                </c:pt>
                <c:pt idx="800">
                  <c:v>0.162208333333333</c:v>
                </c:pt>
                <c:pt idx="801">
                  <c:v>0.162208333333333</c:v>
                </c:pt>
                <c:pt idx="802">
                  <c:v>0.162208333333333</c:v>
                </c:pt>
                <c:pt idx="803">
                  <c:v>0.162208333333333</c:v>
                </c:pt>
                <c:pt idx="804">
                  <c:v>0.162208333333333</c:v>
                </c:pt>
                <c:pt idx="805">
                  <c:v>0.162208333333333</c:v>
                </c:pt>
                <c:pt idx="806">
                  <c:v>0.162208333333333</c:v>
                </c:pt>
                <c:pt idx="807">
                  <c:v>0.162208333333333</c:v>
                </c:pt>
                <c:pt idx="808">
                  <c:v>0.162208333333333</c:v>
                </c:pt>
                <c:pt idx="809">
                  <c:v>0.162208333333333</c:v>
                </c:pt>
                <c:pt idx="810">
                  <c:v>0.162208333333333</c:v>
                </c:pt>
                <c:pt idx="811">
                  <c:v>0.162208333333333</c:v>
                </c:pt>
                <c:pt idx="812">
                  <c:v>0.162208333333333</c:v>
                </c:pt>
                <c:pt idx="813">
                  <c:v>0.162208333333333</c:v>
                </c:pt>
                <c:pt idx="814">
                  <c:v>0.162208333333333</c:v>
                </c:pt>
                <c:pt idx="815">
                  <c:v>0.162208333333333</c:v>
                </c:pt>
                <c:pt idx="816">
                  <c:v>0.162208333333333</c:v>
                </c:pt>
                <c:pt idx="817">
                  <c:v>0.162208333333333</c:v>
                </c:pt>
                <c:pt idx="818">
                  <c:v>0.162208333333333</c:v>
                </c:pt>
                <c:pt idx="819">
                  <c:v>0.162208333333333</c:v>
                </c:pt>
                <c:pt idx="820">
                  <c:v>0.162208333333333</c:v>
                </c:pt>
                <c:pt idx="821">
                  <c:v>0.152666666666667</c:v>
                </c:pt>
                <c:pt idx="822">
                  <c:v>0.152666666666667</c:v>
                </c:pt>
                <c:pt idx="823">
                  <c:v>0.152666666666667</c:v>
                </c:pt>
                <c:pt idx="824">
                  <c:v>0.152666666666667</c:v>
                </c:pt>
                <c:pt idx="825">
                  <c:v>0.152666666666667</c:v>
                </c:pt>
                <c:pt idx="826">
                  <c:v>0.152666666666667</c:v>
                </c:pt>
                <c:pt idx="827">
                  <c:v>0.152666666666667</c:v>
                </c:pt>
                <c:pt idx="828">
                  <c:v>0.152666666666667</c:v>
                </c:pt>
                <c:pt idx="829">
                  <c:v>0.152666666666667</c:v>
                </c:pt>
                <c:pt idx="830">
                  <c:v>0.152666666666667</c:v>
                </c:pt>
                <c:pt idx="831">
                  <c:v>0.152666666666667</c:v>
                </c:pt>
                <c:pt idx="832">
                  <c:v>0.152666666666667</c:v>
                </c:pt>
                <c:pt idx="833">
                  <c:v>0.152666666666667</c:v>
                </c:pt>
                <c:pt idx="834">
                  <c:v>0.152666666666667</c:v>
                </c:pt>
                <c:pt idx="835">
                  <c:v>0.152666666666667</c:v>
                </c:pt>
                <c:pt idx="836">
                  <c:v>0.152666666666667</c:v>
                </c:pt>
                <c:pt idx="837">
                  <c:v>0.152666666666667</c:v>
                </c:pt>
                <c:pt idx="838">
                  <c:v>0.152666666666667</c:v>
                </c:pt>
                <c:pt idx="839">
                  <c:v>0.152666666666667</c:v>
                </c:pt>
                <c:pt idx="840">
                  <c:v>0.152666666666667</c:v>
                </c:pt>
                <c:pt idx="841">
                  <c:v>0.152666666666667</c:v>
                </c:pt>
                <c:pt idx="842">
                  <c:v>0.152666666666667</c:v>
                </c:pt>
                <c:pt idx="843">
                  <c:v>0.152666666666667</c:v>
                </c:pt>
                <c:pt idx="844">
                  <c:v>0.152666666666667</c:v>
                </c:pt>
                <c:pt idx="845">
                  <c:v>0.152666666666667</c:v>
                </c:pt>
                <c:pt idx="846">
                  <c:v>0.152666666666667</c:v>
                </c:pt>
                <c:pt idx="847">
                  <c:v>0.152666666666667</c:v>
                </c:pt>
                <c:pt idx="848">
                  <c:v>0.152666666666667</c:v>
                </c:pt>
                <c:pt idx="849">
                  <c:v>0.152666666666667</c:v>
                </c:pt>
                <c:pt idx="850">
                  <c:v>0.152666666666667</c:v>
                </c:pt>
                <c:pt idx="851">
                  <c:v>0.152666666666667</c:v>
                </c:pt>
                <c:pt idx="852">
                  <c:v>0.143125</c:v>
                </c:pt>
                <c:pt idx="853">
                  <c:v>0.143125</c:v>
                </c:pt>
                <c:pt idx="854">
                  <c:v>0.143125</c:v>
                </c:pt>
                <c:pt idx="855">
                  <c:v>0.143125</c:v>
                </c:pt>
                <c:pt idx="856">
                  <c:v>0.143125</c:v>
                </c:pt>
                <c:pt idx="857">
                  <c:v>0.143125</c:v>
                </c:pt>
                <c:pt idx="858">
                  <c:v>0.143125</c:v>
                </c:pt>
                <c:pt idx="859">
                  <c:v>0.143125</c:v>
                </c:pt>
                <c:pt idx="860">
                  <c:v>0.143125</c:v>
                </c:pt>
                <c:pt idx="861">
                  <c:v>0.143125</c:v>
                </c:pt>
                <c:pt idx="862">
                  <c:v>0.143125</c:v>
                </c:pt>
                <c:pt idx="863">
                  <c:v>0.143125</c:v>
                </c:pt>
                <c:pt idx="864">
                  <c:v>0.143125</c:v>
                </c:pt>
                <c:pt idx="865">
                  <c:v>0.143125</c:v>
                </c:pt>
                <c:pt idx="866">
                  <c:v>0.143125</c:v>
                </c:pt>
                <c:pt idx="867">
                  <c:v>0.143125</c:v>
                </c:pt>
                <c:pt idx="868">
                  <c:v>0.143125</c:v>
                </c:pt>
                <c:pt idx="869">
                  <c:v>0.143125</c:v>
                </c:pt>
                <c:pt idx="870">
                  <c:v>0.143125</c:v>
                </c:pt>
                <c:pt idx="871">
                  <c:v>0.143125</c:v>
                </c:pt>
                <c:pt idx="872">
                  <c:v>0.143125</c:v>
                </c:pt>
                <c:pt idx="873">
                  <c:v>0.143125</c:v>
                </c:pt>
                <c:pt idx="874">
                  <c:v>0.143125</c:v>
                </c:pt>
                <c:pt idx="875">
                  <c:v>0.143125</c:v>
                </c:pt>
                <c:pt idx="876">
                  <c:v>0.143125</c:v>
                </c:pt>
                <c:pt idx="877">
                  <c:v>0.143125</c:v>
                </c:pt>
                <c:pt idx="878">
                  <c:v>0.143125</c:v>
                </c:pt>
                <c:pt idx="879">
                  <c:v>0.143125</c:v>
                </c:pt>
                <c:pt idx="880">
                  <c:v>0.143125</c:v>
                </c:pt>
                <c:pt idx="881">
                  <c:v>0.143125</c:v>
                </c:pt>
                <c:pt idx="882">
                  <c:v>0.143125</c:v>
                </c:pt>
                <c:pt idx="883">
                  <c:v>0.143125</c:v>
                </c:pt>
                <c:pt idx="884">
                  <c:v>0.143125</c:v>
                </c:pt>
                <c:pt idx="885">
                  <c:v>0.143125</c:v>
                </c:pt>
                <c:pt idx="886">
                  <c:v>0.143125</c:v>
                </c:pt>
                <c:pt idx="887">
                  <c:v>0.143125</c:v>
                </c:pt>
                <c:pt idx="888">
                  <c:v>0.143125</c:v>
                </c:pt>
                <c:pt idx="889">
                  <c:v>0.143125</c:v>
                </c:pt>
                <c:pt idx="890">
                  <c:v>0.143125</c:v>
                </c:pt>
                <c:pt idx="891">
                  <c:v>0.143125</c:v>
                </c:pt>
                <c:pt idx="892">
                  <c:v>0.143125</c:v>
                </c:pt>
                <c:pt idx="893">
                  <c:v>0.143125</c:v>
                </c:pt>
                <c:pt idx="894">
                  <c:v>0.143125</c:v>
                </c:pt>
                <c:pt idx="895">
                  <c:v>0.143125</c:v>
                </c:pt>
                <c:pt idx="896">
                  <c:v>0.143125</c:v>
                </c:pt>
                <c:pt idx="897">
                  <c:v>0.143125</c:v>
                </c:pt>
                <c:pt idx="898">
                  <c:v>0.133583333333333</c:v>
                </c:pt>
                <c:pt idx="899">
                  <c:v>0.133583333333333</c:v>
                </c:pt>
                <c:pt idx="900">
                  <c:v>0.133583333333333</c:v>
                </c:pt>
                <c:pt idx="901">
                  <c:v>0.133583333333333</c:v>
                </c:pt>
                <c:pt idx="902">
                  <c:v>0.133583333333333</c:v>
                </c:pt>
                <c:pt idx="903">
                  <c:v>0.133583333333333</c:v>
                </c:pt>
                <c:pt idx="904">
                  <c:v>0.133583333333333</c:v>
                </c:pt>
                <c:pt idx="905">
                  <c:v>0.133583333333333</c:v>
                </c:pt>
                <c:pt idx="906">
                  <c:v>0.133583333333333</c:v>
                </c:pt>
                <c:pt idx="907">
                  <c:v>0.133583333333333</c:v>
                </c:pt>
                <c:pt idx="908">
                  <c:v>0.133583333333333</c:v>
                </c:pt>
                <c:pt idx="909">
                  <c:v>0.133583333333333</c:v>
                </c:pt>
                <c:pt idx="910">
                  <c:v>0.133583333333333</c:v>
                </c:pt>
                <c:pt idx="911">
                  <c:v>0.133583333333333</c:v>
                </c:pt>
                <c:pt idx="912">
                  <c:v>0.133583333333333</c:v>
                </c:pt>
                <c:pt idx="913">
                  <c:v>0.133583333333333</c:v>
                </c:pt>
                <c:pt idx="914">
                  <c:v>0.133583333333333</c:v>
                </c:pt>
                <c:pt idx="915">
                  <c:v>0.133583333333333</c:v>
                </c:pt>
                <c:pt idx="916">
                  <c:v>0.133583333333333</c:v>
                </c:pt>
                <c:pt idx="917">
                  <c:v>0.133583333333333</c:v>
                </c:pt>
                <c:pt idx="918">
                  <c:v>0.133583333333333</c:v>
                </c:pt>
                <c:pt idx="919">
                  <c:v>0.133583333333333</c:v>
                </c:pt>
                <c:pt idx="920">
                  <c:v>0.133583333333333</c:v>
                </c:pt>
                <c:pt idx="921">
                  <c:v>0.133583333333333</c:v>
                </c:pt>
                <c:pt idx="922">
                  <c:v>0.133583333333333</c:v>
                </c:pt>
                <c:pt idx="923">
                  <c:v>0.133583333333333</c:v>
                </c:pt>
                <c:pt idx="924">
                  <c:v>0.133583333333333</c:v>
                </c:pt>
                <c:pt idx="925">
                  <c:v>0.133583333333333</c:v>
                </c:pt>
                <c:pt idx="926">
                  <c:v>0.133583333333333</c:v>
                </c:pt>
                <c:pt idx="927">
                  <c:v>0.133583333333333</c:v>
                </c:pt>
                <c:pt idx="928">
                  <c:v>0.133583333333333</c:v>
                </c:pt>
                <c:pt idx="929">
                  <c:v>0.133583333333333</c:v>
                </c:pt>
                <c:pt idx="930">
                  <c:v>0.133583333333333</c:v>
                </c:pt>
                <c:pt idx="931">
                  <c:v>0.133583333333333</c:v>
                </c:pt>
                <c:pt idx="932">
                  <c:v>0.133583333333333</c:v>
                </c:pt>
                <c:pt idx="933">
                  <c:v>0.133583333333333</c:v>
                </c:pt>
                <c:pt idx="934">
                  <c:v>0.133583333333333</c:v>
                </c:pt>
                <c:pt idx="935">
                  <c:v>0.133583333333333</c:v>
                </c:pt>
                <c:pt idx="936">
                  <c:v>0.124041666666667</c:v>
                </c:pt>
                <c:pt idx="937">
                  <c:v>0.124041666666667</c:v>
                </c:pt>
                <c:pt idx="938">
                  <c:v>0.124041666666667</c:v>
                </c:pt>
                <c:pt idx="939">
                  <c:v>0.124041666666667</c:v>
                </c:pt>
                <c:pt idx="940">
                  <c:v>0.124041666666667</c:v>
                </c:pt>
                <c:pt idx="941">
                  <c:v>0.124041666666667</c:v>
                </c:pt>
                <c:pt idx="942">
                  <c:v>0.124041666666667</c:v>
                </c:pt>
                <c:pt idx="943">
                  <c:v>0.124041666666667</c:v>
                </c:pt>
                <c:pt idx="944">
                  <c:v>0.124041666666667</c:v>
                </c:pt>
                <c:pt idx="945">
                  <c:v>0.124041666666667</c:v>
                </c:pt>
                <c:pt idx="946">
                  <c:v>0.124041666666667</c:v>
                </c:pt>
                <c:pt idx="947">
                  <c:v>0.124041666666667</c:v>
                </c:pt>
                <c:pt idx="948">
                  <c:v>0.124041666666667</c:v>
                </c:pt>
                <c:pt idx="949">
                  <c:v>0.124041666666667</c:v>
                </c:pt>
                <c:pt idx="950">
                  <c:v>0.124041666666667</c:v>
                </c:pt>
                <c:pt idx="951">
                  <c:v>0.124041666666667</c:v>
                </c:pt>
                <c:pt idx="952">
                  <c:v>0.124041666666667</c:v>
                </c:pt>
                <c:pt idx="953">
                  <c:v>0.124041666666667</c:v>
                </c:pt>
                <c:pt idx="954">
                  <c:v>0.124041666666667</c:v>
                </c:pt>
                <c:pt idx="955">
                  <c:v>0.124041666666667</c:v>
                </c:pt>
                <c:pt idx="956">
                  <c:v>0.124041666666667</c:v>
                </c:pt>
                <c:pt idx="957">
                  <c:v>0.124041666666667</c:v>
                </c:pt>
                <c:pt idx="958">
                  <c:v>0.124041666666667</c:v>
                </c:pt>
                <c:pt idx="959">
                  <c:v>0.124041666666667</c:v>
                </c:pt>
                <c:pt idx="960">
                  <c:v>0.124041666666667</c:v>
                </c:pt>
                <c:pt idx="961">
                  <c:v>0.124041666666667</c:v>
                </c:pt>
                <c:pt idx="962">
                  <c:v>0.124041666666667</c:v>
                </c:pt>
                <c:pt idx="963">
                  <c:v>0.124041666666667</c:v>
                </c:pt>
                <c:pt idx="964">
                  <c:v>0.124041666666667</c:v>
                </c:pt>
                <c:pt idx="965">
                  <c:v>0.124041666666667</c:v>
                </c:pt>
                <c:pt idx="966">
                  <c:v>0.124041666666667</c:v>
                </c:pt>
                <c:pt idx="967">
                  <c:v>0.124041666666667</c:v>
                </c:pt>
                <c:pt idx="968">
                  <c:v>0.124041666666667</c:v>
                </c:pt>
                <c:pt idx="969">
                  <c:v>0.124041666666667</c:v>
                </c:pt>
                <c:pt idx="970">
                  <c:v>0.124041666666667</c:v>
                </c:pt>
                <c:pt idx="971">
                  <c:v>0.124041666666667</c:v>
                </c:pt>
                <c:pt idx="972">
                  <c:v>0.124041666666667</c:v>
                </c:pt>
                <c:pt idx="973">
                  <c:v>0.124041666666667</c:v>
                </c:pt>
                <c:pt idx="974">
                  <c:v>0.124041666666667</c:v>
                </c:pt>
                <c:pt idx="975">
                  <c:v>0.124041666666667</c:v>
                </c:pt>
                <c:pt idx="976">
                  <c:v>0.124041666666667</c:v>
                </c:pt>
                <c:pt idx="977">
                  <c:v>0.124041666666667</c:v>
                </c:pt>
                <c:pt idx="978">
                  <c:v>0.124041666666667</c:v>
                </c:pt>
                <c:pt idx="979">
                  <c:v>0.124041666666667</c:v>
                </c:pt>
                <c:pt idx="980">
                  <c:v>0.124041666666667</c:v>
                </c:pt>
                <c:pt idx="981">
                  <c:v>0.124041666666667</c:v>
                </c:pt>
                <c:pt idx="982">
                  <c:v>0.1145</c:v>
                </c:pt>
                <c:pt idx="983">
                  <c:v>0.1145</c:v>
                </c:pt>
                <c:pt idx="984">
                  <c:v>0.1145</c:v>
                </c:pt>
                <c:pt idx="985">
                  <c:v>0.1145</c:v>
                </c:pt>
                <c:pt idx="986">
                  <c:v>0.1145</c:v>
                </c:pt>
                <c:pt idx="987">
                  <c:v>0.1145</c:v>
                </c:pt>
                <c:pt idx="988">
                  <c:v>0.1145</c:v>
                </c:pt>
                <c:pt idx="989">
                  <c:v>0.1145</c:v>
                </c:pt>
                <c:pt idx="990">
                  <c:v>0.1145</c:v>
                </c:pt>
                <c:pt idx="991">
                  <c:v>0.1145</c:v>
                </c:pt>
                <c:pt idx="992">
                  <c:v>0.1145</c:v>
                </c:pt>
                <c:pt idx="993">
                  <c:v>0.1145</c:v>
                </c:pt>
                <c:pt idx="994">
                  <c:v>0.1145</c:v>
                </c:pt>
                <c:pt idx="995">
                  <c:v>0.1145</c:v>
                </c:pt>
                <c:pt idx="996">
                  <c:v>0.1145</c:v>
                </c:pt>
                <c:pt idx="997">
                  <c:v>0.1145</c:v>
                </c:pt>
                <c:pt idx="998">
                  <c:v>0.1145</c:v>
                </c:pt>
                <c:pt idx="999">
                  <c:v>0.1145</c:v>
                </c:pt>
                <c:pt idx="1000">
                  <c:v>0.1145</c:v>
                </c:pt>
                <c:pt idx="1001">
                  <c:v>0.1145</c:v>
                </c:pt>
                <c:pt idx="1002">
                  <c:v>0.1145</c:v>
                </c:pt>
                <c:pt idx="1003">
                  <c:v>0.1145</c:v>
                </c:pt>
                <c:pt idx="1004">
                  <c:v>0.1145</c:v>
                </c:pt>
                <c:pt idx="1005">
                  <c:v>0.1145</c:v>
                </c:pt>
                <c:pt idx="1006">
                  <c:v>0.1145</c:v>
                </c:pt>
                <c:pt idx="1007">
                  <c:v>0.1145</c:v>
                </c:pt>
                <c:pt idx="1008">
                  <c:v>0.1145</c:v>
                </c:pt>
                <c:pt idx="1009">
                  <c:v>0.1145</c:v>
                </c:pt>
                <c:pt idx="1010">
                  <c:v>0.1145</c:v>
                </c:pt>
                <c:pt idx="1011">
                  <c:v>0.1145</c:v>
                </c:pt>
                <c:pt idx="1012">
                  <c:v>0.1145</c:v>
                </c:pt>
                <c:pt idx="1013">
                  <c:v>0.1145</c:v>
                </c:pt>
                <c:pt idx="1014">
                  <c:v>0.1145</c:v>
                </c:pt>
                <c:pt idx="1015">
                  <c:v>0.1145</c:v>
                </c:pt>
                <c:pt idx="1016">
                  <c:v>0.1145</c:v>
                </c:pt>
                <c:pt idx="1017">
                  <c:v>0.1145</c:v>
                </c:pt>
                <c:pt idx="1018">
                  <c:v>0.1145</c:v>
                </c:pt>
                <c:pt idx="1019">
                  <c:v>0.1145</c:v>
                </c:pt>
                <c:pt idx="1020">
                  <c:v>0.1145</c:v>
                </c:pt>
                <c:pt idx="1021">
                  <c:v>0.1145</c:v>
                </c:pt>
                <c:pt idx="1022">
                  <c:v>0.1145</c:v>
                </c:pt>
                <c:pt idx="1023">
                  <c:v>0.1145</c:v>
                </c:pt>
                <c:pt idx="1024">
                  <c:v>0.1145</c:v>
                </c:pt>
                <c:pt idx="1025">
                  <c:v>0.1145</c:v>
                </c:pt>
                <c:pt idx="1026">
                  <c:v>0.1145</c:v>
                </c:pt>
                <c:pt idx="1027">
                  <c:v>0.1145</c:v>
                </c:pt>
                <c:pt idx="1028">
                  <c:v>0.1145</c:v>
                </c:pt>
                <c:pt idx="1029">
                  <c:v>0.104958333333333</c:v>
                </c:pt>
                <c:pt idx="1030">
                  <c:v>0.104958333333333</c:v>
                </c:pt>
                <c:pt idx="1031">
                  <c:v>0.104958333333333</c:v>
                </c:pt>
                <c:pt idx="1032">
                  <c:v>0.104958333333333</c:v>
                </c:pt>
                <c:pt idx="1033">
                  <c:v>0.104958333333333</c:v>
                </c:pt>
                <c:pt idx="1034">
                  <c:v>0.104958333333333</c:v>
                </c:pt>
                <c:pt idx="1035">
                  <c:v>0.104958333333333</c:v>
                </c:pt>
                <c:pt idx="1036">
                  <c:v>0.104958333333333</c:v>
                </c:pt>
                <c:pt idx="1037">
                  <c:v>0.104958333333333</c:v>
                </c:pt>
                <c:pt idx="1038">
                  <c:v>0.104958333333333</c:v>
                </c:pt>
                <c:pt idx="1039">
                  <c:v>0.104958333333333</c:v>
                </c:pt>
                <c:pt idx="1040">
                  <c:v>0.104958333333333</c:v>
                </c:pt>
                <c:pt idx="1041">
                  <c:v>0.104958333333333</c:v>
                </c:pt>
                <c:pt idx="1042">
                  <c:v>0.104958333333333</c:v>
                </c:pt>
                <c:pt idx="1043">
                  <c:v>0.104958333333333</c:v>
                </c:pt>
                <c:pt idx="1044">
                  <c:v>0.104958333333333</c:v>
                </c:pt>
                <c:pt idx="1045">
                  <c:v>0.104958333333333</c:v>
                </c:pt>
                <c:pt idx="1046">
                  <c:v>0.104958333333333</c:v>
                </c:pt>
                <c:pt idx="1047">
                  <c:v>0.104958333333333</c:v>
                </c:pt>
                <c:pt idx="1048">
                  <c:v>0.104958333333333</c:v>
                </c:pt>
                <c:pt idx="1049">
                  <c:v>0.104958333333333</c:v>
                </c:pt>
                <c:pt idx="1050">
                  <c:v>0.104958333333333</c:v>
                </c:pt>
                <c:pt idx="1051">
                  <c:v>0.104958333333333</c:v>
                </c:pt>
                <c:pt idx="1052">
                  <c:v>0.104958333333333</c:v>
                </c:pt>
                <c:pt idx="1053">
                  <c:v>0.104958333333333</c:v>
                </c:pt>
                <c:pt idx="1054">
                  <c:v>0.104958333333333</c:v>
                </c:pt>
                <c:pt idx="1055">
                  <c:v>0.104958333333333</c:v>
                </c:pt>
                <c:pt idx="1056">
                  <c:v>0.104958333333333</c:v>
                </c:pt>
                <c:pt idx="1057">
                  <c:v>0.104958333333333</c:v>
                </c:pt>
                <c:pt idx="1058">
                  <c:v>0.104958333333333</c:v>
                </c:pt>
                <c:pt idx="1059">
                  <c:v>0.104958333333333</c:v>
                </c:pt>
                <c:pt idx="1060">
                  <c:v>0.104958333333333</c:v>
                </c:pt>
                <c:pt idx="1061">
                  <c:v>0.104958333333333</c:v>
                </c:pt>
                <c:pt idx="1062">
                  <c:v>0.104958333333333</c:v>
                </c:pt>
                <c:pt idx="1063">
                  <c:v>0.104958333333333</c:v>
                </c:pt>
                <c:pt idx="1064">
                  <c:v>0.104958333333333</c:v>
                </c:pt>
                <c:pt idx="1065">
                  <c:v>0.104958333333333</c:v>
                </c:pt>
                <c:pt idx="1066">
                  <c:v>0.104958333333333</c:v>
                </c:pt>
                <c:pt idx="1067">
                  <c:v>0.104958333333333</c:v>
                </c:pt>
                <c:pt idx="1068">
                  <c:v>0.104958333333333</c:v>
                </c:pt>
                <c:pt idx="1069">
                  <c:v>0.104958333333333</c:v>
                </c:pt>
                <c:pt idx="1070">
                  <c:v>0.104958333333333</c:v>
                </c:pt>
                <c:pt idx="1071">
                  <c:v>0.104958333333333</c:v>
                </c:pt>
                <c:pt idx="1072">
                  <c:v>0.104958333333333</c:v>
                </c:pt>
                <c:pt idx="1073">
                  <c:v>0.104958333333333</c:v>
                </c:pt>
                <c:pt idx="1074">
                  <c:v>0.104958333333333</c:v>
                </c:pt>
                <c:pt idx="1075">
                  <c:v>0.104958333333333</c:v>
                </c:pt>
                <c:pt idx="1076">
                  <c:v>0.104958333333333</c:v>
                </c:pt>
                <c:pt idx="1077">
                  <c:v>0.104958333333333</c:v>
                </c:pt>
                <c:pt idx="1078">
                  <c:v>0.104958333333333</c:v>
                </c:pt>
                <c:pt idx="1079">
                  <c:v>0.104958333333333</c:v>
                </c:pt>
                <c:pt idx="1080">
                  <c:v>0.104958333333333</c:v>
                </c:pt>
                <c:pt idx="1081">
                  <c:v>0.104958333333333</c:v>
                </c:pt>
                <c:pt idx="1082">
                  <c:v>0.104958333333333</c:v>
                </c:pt>
                <c:pt idx="1083">
                  <c:v>0.104958333333333</c:v>
                </c:pt>
                <c:pt idx="1084">
                  <c:v>0.104958333333333</c:v>
                </c:pt>
                <c:pt idx="1085">
                  <c:v>0.104958333333333</c:v>
                </c:pt>
                <c:pt idx="1086">
                  <c:v>0.104958333333333</c:v>
                </c:pt>
                <c:pt idx="1087">
                  <c:v>0.104958333333333</c:v>
                </c:pt>
                <c:pt idx="1088">
                  <c:v>0.104958333333333</c:v>
                </c:pt>
                <c:pt idx="1089">
                  <c:v>0.0954166666666667</c:v>
                </c:pt>
                <c:pt idx="1090">
                  <c:v>0.0954166666666667</c:v>
                </c:pt>
                <c:pt idx="1091">
                  <c:v>0.0954166666666667</c:v>
                </c:pt>
                <c:pt idx="1092">
                  <c:v>0.0954166666666667</c:v>
                </c:pt>
                <c:pt idx="1093">
                  <c:v>0.0954166666666667</c:v>
                </c:pt>
                <c:pt idx="1094">
                  <c:v>0.0954166666666667</c:v>
                </c:pt>
                <c:pt idx="1095">
                  <c:v>0.0954166666666667</c:v>
                </c:pt>
                <c:pt idx="1096">
                  <c:v>0.0954166666666667</c:v>
                </c:pt>
                <c:pt idx="1097">
                  <c:v>0.0954166666666667</c:v>
                </c:pt>
                <c:pt idx="1098">
                  <c:v>0.0954166666666667</c:v>
                </c:pt>
                <c:pt idx="1099">
                  <c:v>0.0954166666666667</c:v>
                </c:pt>
                <c:pt idx="1100">
                  <c:v>0.0954166666666667</c:v>
                </c:pt>
                <c:pt idx="1101">
                  <c:v>0.0954166666666667</c:v>
                </c:pt>
                <c:pt idx="1102">
                  <c:v>0.0954166666666667</c:v>
                </c:pt>
                <c:pt idx="1103">
                  <c:v>0.0954166666666667</c:v>
                </c:pt>
                <c:pt idx="1104">
                  <c:v>0.0954166666666667</c:v>
                </c:pt>
                <c:pt idx="1105">
                  <c:v>0.0954166666666667</c:v>
                </c:pt>
                <c:pt idx="1106">
                  <c:v>0.0954166666666667</c:v>
                </c:pt>
                <c:pt idx="1107">
                  <c:v>0.0954166666666667</c:v>
                </c:pt>
                <c:pt idx="1108">
                  <c:v>0.0954166666666667</c:v>
                </c:pt>
                <c:pt idx="1109">
                  <c:v>0.0954166666666667</c:v>
                </c:pt>
                <c:pt idx="1110">
                  <c:v>0.0954166666666667</c:v>
                </c:pt>
                <c:pt idx="1111">
                  <c:v>0.0954166666666667</c:v>
                </c:pt>
                <c:pt idx="1112">
                  <c:v>0.0954166666666667</c:v>
                </c:pt>
                <c:pt idx="1113">
                  <c:v>0.0954166666666667</c:v>
                </c:pt>
                <c:pt idx="1114">
                  <c:v>0.0954166666666667</c:v>
                </c:pt>
                <c:pt idx="1115">
                  <c:v>0.0954166666666667</c:v>
                </c:pt>
                <c:pt idx="1116">
                  <c:v>0.0954166666666667</c:v>
                </c:pt>
                <c:pt idx="1117">
                  <c:v>0.0954166666666667</c:v>
                </c:pt>
                <c:pt idx="1118">
                  <c:v>0.0954166666666667</c:v>
                </c:pt>
                <c:pt idx="1119">
                  <c:v>0.0954166666666667</c:v>
                </c:pt>
                <c:pt idx="1120">
                  <c:v>0.0954166666666667</c:v>
                </c:pt>
                <c:pt idx="1121">
                  <c:v>0.0954166666666667</c:v>
                </c:pt>
                <c:pt idx="1122">
                  <c:v>0.0954166666666667</c:v>
                </c:pt>
                <c:pt idx="1123">
                  <c:v>0.0954166666666667</c:v>
                </c:pt>
                <c:pt idx="1124">
                  <c:v>0.0954166666666667</c:v>
                </c:pt>
                <c:pt idx="1125">
                  <c:v>0.0954166666666667</c:v>
                </c:pt>
                <c:pt idx="1126">
                  <c:v>0.0954166666666667</c:v>
                </c:pt>
                <c:pt idx="1127">
                  <c:v>0.0954166666666667</c:v>
                </c:pt>
                <c:pt idx="1128">
                  <c:v>0.0954166666666667</c:v>
                </c:pt>
                <c:pt idx="1129">
                  <c:v>0.0954166666666667</c:v>
                </c:pt>
                <c:pt idx="1130">
                  <c:v>0.0954166666666667</c:v>
                </c:pt>
                <c:pt idx="1131">
                  <c:v>0.0954166666666667</c:v>
                </c:pt>
                <c:pt idx="1132">
                  <c:v>0.0954166666666667</c:v>
                </c:pt>
                <c:pt idx="1133">
                  <c:v>0.0954166666666667</c:v>
                </c:pt>
                <c:pt idx="1134">
                  <c:v>0.0954166666666667</c:v>
                </c:pt>
                <c:pt idx="1135">
                  <c:v>0.0954166666666667</c:v>
                </c:pt>
                <c:pt idx="1136">
                  <c:v>0.0954166666666667</c:v>
                </c:pt>
                <c:pt idx="1137">
                  <c:v>0.0954166666666667</c:v>
                </c:pt>
                <c:pt idx="1138">
                  <c:v>0.0954166666666667</c:v>
                </c:pt>
                <c:pt idx="1139">
                  <c:v>0.0954166666666667</c:v>
                </c:pt>
                <c:pt idx="1140">
                  <c:v>0.0954166666666667</c:v>
                </c:pt>
                <c:pt idx="1141">
                  <c:v>0.0954166666666667</c:v>
                </c:pt>
                <c:pt idx="1142">
                  <c:v>0.0954166666666667</c:v>
                </c:pt>
                <c:pt idx="1143">
                  <c:v>0.0954166666666667</c:v>
                </c:pt>
                <c:pt idx="1144">
                  <c:v>0.0954166666666667</c:v>
                </c:pt>
                <c:pt idx="1145">
                  <c:v>0.0954166666666667</c:v>
                </c:pt>
                <c:pt idx="1146">
                  <c:v>0.0954166666666667</c:v>
                </c:pt>
                <c:pt idx="1147">
                  <c:v>0.0954166666666667</c:v>
                </c:pt>
                <c:pt idx="1148">
                  <c:v>0.0954166666666667</c:v>
                </c:pt>
                <c:pt idx="1149">
                  <c:v>0.0954166666666667</c:v>
                </c:pt>
                <c:pt idx="1150">
                  <c:v>0.0954166666666667</c:v>
                </c:pt>
                <c:pt idx="1151">
                  <c:v>0.085875</c:v>
                </c:pt>
                <c:pt idx="1152">
                  <c:v>0.085875</c:v>
                </c:pt>
                <c:pt idx="1153">
                  <c:v>0.085875</c:v>
                </c:pt>
                <c:pt idx="1154">
                  <c:v>0.085875</c:v>
                </c:pt>
                <c:pt idx="1155">
                  <c:v>0.085875</c:v>
                </c:pt>
                <c:pt idx="1156">
                  <c:v>0.085875</c:v>
                </c:pt>
                <c:pt idx="1157">
                  <c:v>0.085875</c:v>
                </c:pt>
                <c:pt idx="1158">
                  <c:v>0.085875</c:v>
                </c:pt>
                <c:pt idx="1159">
                  <c:v>0.085875</c:v>
                </c:pt>
                <c:pt idx="1160">
                  <c:v>0.085875</c:v>
                </c:pt>
                <c:pt idx="1161">
                  <c:v>0.085875</c:v>
                </c:pt>
                <c:pt idx="1162">
                  <c:v>0.085875</c:v>
                </c:pt>
                <c:pt idx="1163">
                  <c:v>0.085875</c:v>
                </c:pt>
                <c:pt idx="1164">
                  <c:v>0.085875</c:v>
                </c:pt>
                <c:pt idx="1165">
                  <c:v>0.085875</c:v>
                </c:pt>
                <c:pt idx="1166">
                  <c:v>0.085875</c:v>
                </c:pt>
                <c:pt idx="1167">
                  <c:v>0.085875</c:v>
                </c:pt>
                <c:pt idx="1168">
                  <c:v>0.085875</c:v>
                </c:pt>
                <c:pt idx="1169">
                  <c:v>0.085875</c:v>
                </c:pt>
                <c:pt idx="1170">
                  <c:v>0.085875</c:v>
                </c:pt>
                <c:pt idx="1171">
                  <c:v>0.085875</c:v>
                </c:pt>
                <c:pt idx="1172">
                  <c:v>0.085875</c:v>
                </c:pt>
                <c:pt idx="1173">
                  <c:v>0.085875</c:v>
                </c:pt>
                <c:pt idx="1174">
                  <c:v>0.085875</c:v>
                </c:pt>
                <c:pt idx="1175">
                  <c:v>0.085875</c:v>
                </c:pt>
                <c:pt idx="1176">
                  <c:v>0.085875</c:v>
                </c:pt>
                <c:pt idx="1177">
                  <c:v>0.085875</c:v>
                </c:pt>
                <c:pt idx="1178">
                  <c:v>0.085875</c:v>
                </c:pt>
                <c:pt idx="1179">
                  <c:v>0.085875</c:v>
                </c:pt>
                <c:pt idx="1180">
                  <c:v>0.085875</c:v>
                </c:pt>
                <c:pt idx="1181">
                  <c:v>0.085875</c:v>
                </c:pt>
                <c:pt idx="1182">
                  <c:v>0.085875</c:v>
                </c:pt>
                <c:pt idx="1183">
                  <c:v>0.085875</c:v>
                </c:pt>
                <c:pt idx="1184">
                  <c:v>0.085875</c:v>
                </c:pt>
                <c:pt idx="1185">
                  <c:v>0.085875</c:v>
                </c:pt>
                <c:pt idx="1186">
                  <c:v>0.085875</c:v>
                </c:pt>
                <c:pt idx="1187">
                  <c:v>0.085875</c:v>
                </c:pt>
                <c:pt idx="1188">
                  <c:v>0.085875</c:v>
                </c:pt>
                <c:pt idx="1189">
                  <c:v>0.085875</c:v>
                </c:pt>
                <c:pt idx="1190">
                  <c:v>0.085875</c:v>
                </c:pt>
                <c:pt idx="1191">
                  <c:v>0.085875</c:v>
                </c:pt>
                <c:pt idx="1192">
                  <c:v>0.085875</c:v>
                </c:pt>
                <c:pt idx="1193">
                  <c:v>0.085875</c:v>
                </c:pt>
                <c:pt idx="1194">
                  <c:v>0.085875</c:v>
                </c:pt>
                <c:pt idx="1195">
                  <c:v>0.085875</c:v>
                </c:pt>
                <c:pt idx="1196">
                  <c:v>0.085875</c:v>
                </c:pt>
                <c:pt idx="1197">
                  <c:v>0.085875</c:v>
                </c:pt>
                <c:pt idx="1198">
                  <c:v>0.085875</c:v>
                </c:pt>
                <c:pt idx="1199">
                  <c:v>0.085875</c:v>
                </c:pt>
                <c:pt idx="1200">
                  <c:v>0.085875</c:v>
                </c:pt>
                <c:pt idx="1201">
                  <c:v>0.085875</c:v>
                </c:pt>
                <c:pt idx="1202">
                  <c:v>0.085875</c:v>
                </c:pt>
                <c:pt idx="1203">
                  <c:v>0.085875</c:v>
                </c:pt>
                <c:pt idx="1204">
                  <c:v>0.085875</c:v>
                </c:pt>
                <c:pt idx="1205">
                  <c:v>0.085875</c:v>
                </c:pt>
                <c:pt idx="1206">
                  <c:v>0.085875</c:v>
                </c:pt>
                <c:pt idx="1207">
                  <c:v>0.085875</c:v>
                </c:pt>
                <c:pt idx="1208">
                  <c:v>0.085875</c:v>
                </c:pt>
                <c:pt idx="1209">
                  <c:v>0.085875</c:v>
                </c:pt>
                <c:pt idx="1210">
                  <c:v>0.085875</c:v>
                </c:pt>
                <c:pt idx="1211">
                  <c:v>0.085875</c:v>
                </c:pt>
                <c:pt idx="1212">
                  <c:v>0.085875</c:v>
                </c:pt>
                <c:pt idx="1213">
                  <c:v>0.085875</c:v>
                </c:pt>
                <c:pt idx="1214">
                  <c:v>0.085875</c:v>
                </c:pt>
                <c:pt idx="1215">
                  <c:v>0.085875</c:v>
                </c:pt>
                <c:pt idx="1216">
                  <c:v>0.085875</c:v>
                </c:pt>
                <c:pt idx="1217">
                  <c:v>0.085875</c:v>
                </c:pt>
                <c:pt idx="1218">
                  <c:v>0.085875</c:v>
                </c:pt>
                <c:pt idx="1219">
                  <c:v>0.085875</c:v>
                </c:pt>
                <c:pt idx="1220">
                  <c:v>0.085875</c:v>
                </c:pt>
                <c:pt idx="1221">
                  <c:v>0.085875</c:v>
                </c:pt>
                <c:pt idx="1222">
                  <c:v>0.085875</c:v>
                </c:pt>
                <c:pt idx="1223">
                  <c:v>0.085875</c:v>
                </c:pt>
                <c:pt idx="1224">
                  <c:v>0.0763333333333334</c:v>
                </c:pt>
                <c:pt idx="1225">
                  <c:v>0.0763333333333334</c:v>
                </c:pt>
                <c:pt idx="1226">
                  <c:v>0.0763333333333334</c:v>
                </c:pt>
                <c:pt idx="1227">
                  <c:v>0.0763333333333334</c:v>
                </c:pt>
                <c:pt idx="1228">
                  <c:v>0.0763333333333334</c:v>
                </c:pt>
                <c:pt idx="1229">
                  <c:v>0.0763333333333334</c:v>
                </c:pt>
                <c:pt idx="1230">
                  <c:v>0.0763333333333334</c:v>
                </c:pt>
                <c:pt idx="1231">
                  <c:v>0.0763333333333334</c:v>
                </c:pt>
                <c:pt idx="1232">
                  <c:v>0.0763333333333334</c:v>
                </c:pt>
                <c:pt idx="1233">
                  <c:v>0.0763333333333334</c:v>
                </c:pt>
                <c:pt idx="1234">
                  <c:v>0.0763333333333334</c:v>
                </c:pt>
                <c:pt idx="1235">
                  <c:v>0.0763333333333334</c:v>
                </c:pt>
                <c:pt idx="1236">
                  <c:v>0.0763333333333334</c:v>
                </c:pt>
                <c:pt idx="1237">
                  <c:v>0.0763333333333334</c:v>
                </c:pt>
                <c:pt idx="1238">
                  <c:v>0.0763333333333334</c:v>
                </c:pt>
                <c:pt idx="1239">
                  <c:v>0.0763333333333334</c:v>
                </c:pt>
                <c:pt idx="1240">
                  <c:v>0.0763333333333334</c:v>
                </c:pt>
                <c:pt idx="1241">
                  <c:v>0.0763333333333334</c:v>
                </c:pt>
                <c:pt idx="1242">
                  <c:v>0.0763333333333334</c:v>
                </c:pt>
                <c:pt idx="1243">
                  <c:v>0.0763333333333334</c:v>
                </c:pt>
                <c:pt idx="1244">
                  <c:v>0.0763333333333334</c:v>
                </c:pt>
                <c:pt idx="1245">
                  <c:v>0.0763333333333334</c:v>
                </c:pt>
                <c:pt idx="1246">
                  <c:v>0.0763333333333334</c:v>
                </c:pt>
                <c:pt idx="1247">
                  <c:v>0.0763333333333334</c:v>
                </c:pt>
                <c:pt idx="1248">
                  <c:v>0.0763333333333334</c:v>
                </c:pt>
                <c:pt idx="1249">
                  <c:v>0.0763333333333334</c:v>
                </c:pt>
                <c:pt idx="1250">
                  <c:v>0.0763333333333334</c:v>
                </c:pt>
                <c:pt idx="1251">
                  <c:v>0.0763333333333334</c:v>
                </c:pt>
                <c:pt idx="1252">
                  <c:v>0.0763333333333334</c:v>
                </c:pt>
                <c:pt idx="1253">
                  <c:v>0.0763333333333334</c:v>
                </c:pt>
                <c:pt idx="1254">
                  <c:v>0.0763333333333334</c:v>
                </c:pt>
                <c:pt idx="1255">
                  <c:v>0.0763333333333334</c:v>
                </c:pt>
                <c:pt idx="1256">
                  <c:v>0.0763333333333334</c:v>
                </c:pt>
                <c:pt idx="1257">
                  <c:v>0.0763333333333334</c:v>
                </c:pt>
                <c:pt idx="1258">
                  <c:v>0.0763333333333334</c:v>
                </c:pt>
                <c:pt idx="1259">
                  <c:v>0.0763333333333334</c:v>
                </c:pt>
                <c:pt idx="1260">
                  <c:v>0.0763333333333334</c:v>
                </c:pt>
                <c:pt idx="1261">
                  <c:v>0.0763333333333334</c:v>
                </c:pt>
                <c:pt idx="1262">
                  <c:v>0.0763333333333334</c:v>
                </c:pt>
                <c:pt idx="1263">
                  <c:v>0.0763333333333334</c:v>
                </c:pt>
                <c:pt idx="1264">
                  <c:v>0.0763333333333334</c:v>
                </c:pt>
                <c:pt idx="1265">
                  <c:v>0.0763333333333334</c:v>
                </c:pt>
                <c:pt idx="1266">
                  <c:v>0.0763333333333334</c:v>
                </c:pt>
                <c:pt idx="1267">
                  <c:v>0.0763333333333334</c:v>
                </c:pt>
                <c:pt idx="1268">
                  <c:v>0.0763333333333334</c:v>
                </c:pt>
                <c:pt idx="1269">
                  <c:v>0.0763333333333334</c:v>
                </c:pt>
                <c:pt idx="1270">
                  <c:v>0.0763333333333334</c:v>
                </c:pt>
                <c:pt idx="1271">
                  <c:v>0.0763333333333334</c:v>
                </c:pt>
                <c:pt idx="1272">
                  <c:v>0.0763333333333334</c:v>
                </c:pt>
                <c:pt idx="1273">
                  <c:v>0.0763333333333334</c:v>
                </c:pt>
                <c:pt idx="1274">
                  <c:v>0.0763333333333334</c:v>
                </c:pt>
                <c:pt idx="1275">
                  <c:v>0.0763333333333334</c:v>
                </c:pt>
                <c:pt idx="1276">
                  <c:v>0.0763333333333334</c:v>
                </c:pt>
                <c:pt idx="1277">
                  <c:v>0.0763333333333334</c:v>
                </c:pt>
                <c:pt idx="1278">
                  <c:v>0.0763333333333334</c:v>
                </c:pt>
                <c:pt idx="1279">
                  <c:v>0.0763333333333334</c:v>
                </c:pt>
                <c:pt idx="1280">
                  <c:v>0.0763333333333334</c:v>
                </c:pt>
                <c:pt idx="1281">
                  <c:v>0.0763333333333334</c:v>
                </c:pt>
                <c:pt idx="1282">
                  <c:v>0.0763333333333334</c:v>
                </c:pt>
                <c:pt idx="1283">
                  <c:v>0.0763333333333334</c:v>
                </c:pt>
                <c:pt idx="1284">
                  <c:v>0.0763333333333334</c:v>
                </c:pt>
                <c:pt idx="1285">
                  <c:v>0.0763333333333334</c:v>
                </c:pt>
                <c:pt idx="1286">
                  <c:v>0.0763333333333334</c:v>
                </c:pt>
                <c:pt idx="1287">
                  <c:v>0.0763333333333334</c:v>
                </c:pt>
                <c:pt idx="1288">
                  <c:v>0.0763333333333334</c:v>
                </c:pt>
                <c:pt idx="1289">
                  <c:v>0.0763333333333334</c:v>
                </c:pt>
                <c:pt idx="1290">
                  <c:v>0.0763333333333334</c:v>
                </c:pt>
                <c:pt idx="1291">
                  <c:v>0.0763333333333334</c:v>
                </c:pt>
                <c:pt idx="1292">
                  <c:v>0.0763333333333334</c:v>
                </c:pt>
                <c:pt idx="1293">
                  <c:v>0.0763333333333334</c:v>
                </c:pt>
                <c:pt idx="1294">
                  <c:v>0.0763333333333334</c:v>
                </c:pt>
                <c:pt idx="1295">
                  <c:v>0.0763333333333334</c:v>
                </c:pt>
                <c:pt idx="1296">
                  <c:v>0.0763333333333334</c:v>
                </c:pt>
                <c:pt idx="1297">
                  <c:v>0.0763333333333334</c:v>
                </c:pt>
                <c:pt idx="1298">
                  <c:v>0.0763333333333334</c:v>
                </c:pt>
                <c:pt idx="1299">
                  <c:v>0.0763333333333334</c:v>
                </c:pt>
                <c:pt idx="1300">
                  <c:v>0.0763333333333334</c:v>
                </c:pt>
                <c:pt idx="1301">
                  <c:v>0.0763333333333334</c:v>
                </c:pt>
                <c:pt idx="1302">
                  <c:v>0.0763333333333334</c:v>
                </c:pt>
                <c:pt idx="1303">
                  <c:v>0.0763333333333334</c:v>
                </c:pt>
                <c:pt idx="1304">
                  <c:v>0.0763333333333334</c:v>
                </c:pt>
                <c:pt idx="1305">
                  <c:v>0.0763333333333334</c:v>
                </c:pt>
                <c:pt idx="1306">
                  <c:v>0.0667916666666667</c:v>
                </c:pt>
                <c:pt idx="1307">
                  <c:v>0.0667916666666667</c:v>
                </c:pt>
                <c:pt idx="1308">
                  <c:v>0.0667916666666667</c:v>
                </c:pt>
                <c:pt idx="1309">
                  <c:v>0.0667916666666667</c:v>
                </c:pt>
                <c:pt idx="1310">
                  <c:v>0.0667916666666667</c:v>
                </c:pt>
                <c:pt idx="1311">
                  <c:v>0.0667916666666667</c:v>
                </c:pt>
                <c:pt idx="1312">
                  <c:v>0.0667916666666667</c:v>
                </c:pt>
                <c:pt idx="1313">
                  <c:v>0.0667916666666667</c:v>
                </c:pt>
                <c:pt idx="1314">
                  <c:v>0.0667916666666667</c:v>
                </c:pt>
                <c:pt idx="1315">
                  <c:v>0.0667916666666667</c:v>
                </c:pt>
                <c:pt idx="1316">
                  <c:v>0.0667916666666667</c:v>
                </c:pt>
                <c:pt idx="1317">
                  <c:v>0.0667916666666667</c:v>
                </c:pt>
                <c:pt idx="1318">
                  <c:v>0.0667916666666667</c:v>
                </c:pt>
                <c:pt idx="1319">
                  <c:v>0.0667916666666667</c:v>
                </c:pt>
                <c:pt idx="1320">
                  <c:v>0.0667916666666667</c:v>
                </c:pt>
                <c:pt idx="1321">
                  <c:v>0.0667916666666667</c:v>
                </c:pt>
                <c:pt idx="1322">
                  <c:v>0.0667916666666667</c:v>
                </c:pt>
                <c:pt idx="1323">
                  <c:v>0.0667916666666667</c:v>
                </c:pt>
                <c:pt idx="1324">
                  <c:v>0.0667916666666667</c:v>
                </c:pt>
                <c:pt idx="1325">
                  <c:v>0.0667916666666667</c:v>
                </c:pt>
                <c:pt idx="1326">
                  <c:v>0.0667916666666667</c:v>
                </c:pt>
                <c:pt idx="1327">
                  <c:v>0.0667916666666667</c:v>
                </c:pt>
                <c:pt idx="1328">
                  <c:v>0.0667916666666667</c:v>
                </c:pt>
                <c:pt idx="1329">
                  <c:v>0.0667916666666667</c:v>
                </c:pt>
                <c:pt idx="1330">
                  <c:v>0.0667916666666667</c:v>
                </c:pt>
                <c:pt idx="1331">
                  <c:v>0.0667916666666667</c:v>
                </c:pt>
                <c:pt idx="1332">
                  <c:v>0.0667916666666667</c:v>
                </c:pt>
                <c:pt idx="1333">
                  <c:v>0.0667916666666667</c:v>
                </c:pt>
                <c:pt idx="1334">
                  <c:v>0.0667916666666667</c:v>
                </c:pt>
                <c:pt idx="1335">
                  <c:v>0.0667916666666667</c:v>
                </c:pt>
                <c:pt idx="1336">
                  <c:v>0.0667916666666667</c:v>
                </c:pt>
                <c:pt idx="1337">
                  <c:v>0.0667916666666667</c:v>
                </c:pt>
                <c:pt idx="1338">
                  <c:v>0.0667916666666667</c:v>
                </c:pt>
                <c:pt idx="1339">
                  <c:v>0.0667916666666667</c:v>
                </c:pt>
                <c:pt idx="1340">
                  <c:v>0.0667916666666667</c:v>
                </c:pt>
                <c:pt idx="1341">
                  <c:v>0.0667916666666667</c:v>
                </c:pt>
                <c:pt idx="1342">
                  <c:v>0.0667916666666667</c:v>
                </c:pt>
                <c:pt idx="1343">
                  <c:v>0.0667916666666667</c:v>
                </c:pt>
                <c:pt idx="1344">
                  <c:v>0.0667916666666667</c:v>
                </c:pt>
                <c:pt idx="1345">
                  <c:v>0.0667916666666667</c:v>
                </c:pt>
                <c:pt idx="1346">
                  <c:v>0.0667916666666667</c:v>
                </c:pt>
                <c:pt idx="1347">
                  <c:v>0.0667916666666667</c:v>
                </c:pt>
                <c:pt idx="1348">
                  <c:v>0.0667916666666667</c:v>
                </c:pt>
                <c:pt idx="1349">
                  <c:v>0.0667916666666667</c:v>
                </c:pt>
                <c:pt idx="1350">
                  <c:v>0.0667916666666667</c:v>
                </c:pt>
                <c:pt idx="1351">
                  <c:v>0.0667916666666667</c:v>
                </c:pt>
                <c:pt idx="1352">
                  <c:v>0.0667916666666667</c:v>
                </c:pt>
                <c:pt idx="1353">
                  <c:v>0.0667916666666667</c:v>
                </c:pt>
                <c:pt idx="1354">
                  <c:v>0.0667916666666667</c:v>
                </c:pt>
                <c:pt idx="1355">
                  <c:v>0.0667916666666667</c:v>
                </c:pt>
                <c:pt idx="1356">
                  <c:v>0.0667916666666667</c:v>
                </c:pt>
                <c:pt idx="1357">
                  <c:v>0.0667916666666667</c:v>
                </c:pt>
                <c:pt idx="1358">
                  <c:v>0.0667916666666667</c:v>
                </c:pt>
                <c:pt idx="1359">
                  <c:v>0.0667916666666667</c:v>
                </c:pt>
                <c:pt idx="1360">
                  <c:v>0.0667916666666667</c:v>
                </c:pt>
                <c:pt idx="1361">
                  <c:v>0.0667916666666667</c:v>
                </c:pt>
                <c:pt idx="1362">
                  <c:v>0.0667916666666667</c:v>
                </c:pt>
                <c:pt idx="1363">
                  <c:v>0.0667916666666667</c:v>
                </c:pt>
                <c:pt idx="1364">
                  <c:v>0.0667916666666667</c:v>
                </c:pt>
                <c:pt idx="1365">
                  <c:v>0.0667916666666667</c:v>
                </c:pt>
                <c:pt idx="1366">
                  <c:v>0.0667916666666667</c:v>
                </c:pt>
                <c:pt idx="1367">
                  <c:v>0.0667916666666667</c:v>
                </c:pt>
                <c:pt idx="1368">
                  <c:v>0.0667916666666667</c:v>
                </c:pt>
                <c:pt idx="1369">
                  <c:v>0.0667916666666667</c:v>
                </c:pt>
                <c:pt idx="1370">
                  <c:v>0.0667916666666667</c:v>
                </c:pt>
                <c:pt idx="1371">
                  <c:v>0.0667916666666667</c:v>
                </c:pt>
                <c:pt idx="1372">
                  <c:v>0.0667916666666667</c:v>
                </c:pt>
                <c:pt idx="1373">
                  <c:v>0.0667916666666667</c:v>
                </c:pt>
                <c:pt idx="1374">
                  <c:v>0.0667916666666667</c:v>
                </c:pt>
                <c:pt idx="1375">
                  <c:v>0.0667916666666667</c:v>
                </c:pt>
                <c:pt idx="1376">
                  <c:v>0.0667916666666667</c:v>
                </c:pt>
                <c:pt idx="1377">
                  <c:v>0.0667916666666667</c:v>
                </c:pt>
                <c:pt idx="1378">
                  <c:v>0.0667916666666667</c:v>
                </c:pt>
                <c:pt idx="1379">
                  <c:v>0.0667916666666667</c:v>
                </c:pt>
                <c:pt idx="1380">
                  <c:v>0.0667916666666667</c:v>
                </c:pt>
                <c:pt idx="1381">
                  <c:v>0.0667916666666667</c:v>
                </c:pt>
                <c:pt idx="1382">
                  <c:v>0.0667916666666667</c:v>
                </c:pt>
                <c:pt idx="1383">
                  <c:v>0.0667916666666667</c:v>
                </c:pt>
                <c:pt idx="1384">
                  <c:v>0.0667916666666667</c:v>
                </c:pt>
                <c:pt idx="1385">
                  <c:v>0.0667916666666667</c:v>
                </c:pt>
                <c:pt idx="1386">
                  <c:v>0.0667916666666667</c:v>
                </c:pt>
                <c:pt idx="1387">
                  <c:v>0.0667916666666667</c:v>
                </c:pt>
                <c:pt idx="1388">
                  <c:v>0.0667916666666667</c:v>
                </c:pt>
                <c:pt idx="1389">
                  <c:v>0.0667916666666667</c:v>
                </c:pt>
                <c:pt idx="1390">
                  <c:v>0.0667916666666667</c:v>
                </c:pt>
                <c:pt idx="1391">
                  <c:v>0.0667916666666667</c:v>
                </c:pt>
                <c:pt idx="1392">
                  <c:v>0.0667916666666667</c:v>
                </c:pt>
                <c:pt idx="1393">
                  <c:v>0.0667916666666667</c:v>
                </c:pt>
                <c:pt idx="1394">
                  <c:v>0.0667916666666667</c:v>
                </c:pt>
                <c:pt idx="1395">
                  <c:v>0.05725</c:v>
                </c:pt>
                <c:pt idx="1396">
                  <c:v>0.05725</c:v>
                </c:pt>
                <c:pt idx="1397">
                  <c:v>0.05725</c:v>
                </c:pt>
                <c:pt idx="1398">
                  <c:v>0.05725</c:v>
                </c:pt>
                <c:pt idx="1399">
                  <c:v>0.05725</c:v>
                </c:pt>
                <c:pt idx="1400">
                  <c:v>0.05725</c:v>
                </c:pt>
                <c:pt idx="1401">
                  <c:v>0.05725</c:v>
                </c:pt>
                <c:pt idx="1402">
                  <c:v>0.05725</c:v>
                </c:pt>
                <c:pt idx="1403">
                  <c:v>0.05725</c:v>
                </c:pt>
                <c:pt idx="1404">
                  <c:v>0.05725</c:v>
                </c:pt>
                <c:pt idx="1405">
                  <c:v>0.05725</c:v>
                </c:pt>
                <c:pt idx="1406">
                  <c:v>0.05725</c:v>
                </c:pt>
                <c:pt idx="1407">
                  <c:v>0.05725</c:v>
                </c:pt>
                <c:pt idx="1408">
                  <c:v>0.05725</c:v>
                </c:pt>
                <c:pt idx="1409">
                  <c:v>0.05725</c:v>
                </c:pt>
                <c:pt idx="1410">
                  <c:v>0.05725</c:v>
                </c:pt>
                <c:pt idx="1411">
                  <c:v>0.05725</c:v>
                </c:pt>
                <c:pt idx="1412">
                  <c:v>0.05725</c:v>
                </c:pt>
                <c:pt idx="1413">
                  <c:v>0.05725</c:v>
                </c:pt>
                <c:pt idx="1414">
                  <c:v>0.05725</c:v>
                </c:pt>
                <c:pt idx="1415">
                  <c:v>0.05725</c:v>
                </c:pt>
                <c:pt idx="1416">
                  <c:v>0.05725</c:v>
                </c:pt>
                <c:pt idx="1417">
                  <c:v>0.05725</c:v>
                </c:pt>
                <c:pt idx="1418">
                  <c:v>0.05725</c:v>
                </c:pt>
                <c:pt idx="1419">
                  <c:v>0.05725</c:v>
                </c:pt>
                <c:pt idx="1420">
                  <c:v>0.05725</c:v>
                </c:pt>
                <c:pt idx="1421">
                  <c:v>0.05725</c:v>
                </c:pt>
                <c:pt idx="1422">
                  <c:v>0.05725</c:v>
                </c:pt>
                <c:pt idx="1423">
                  <c:v>0.05725</c:v>
                </c:pt>
                <c:pt idx="1424">
                  <c:v>0.05725</c:v>
                </c:pt>
                <c:pt idx="1425">
                  <c:v>0.05725</c:v>
                </c:pt>
                <c:pt idx="1426">
                  <c:v>0.05725</c:v>
                </c:pt>
                <c:pt idx="1427">
                  <c:v>0.05725</c:v>
                </c:pt>
                <c:pt idx="1428">
                  <c:v>0.05725</c:v>
                </c:pt>
                <c:pt idx="1429">
                  <c:v>0.05725</c:v>
                </c:pt>
                <c:pt idx="1430">
                  <c:v>0.05725</c:v>
                </c:pt>
                <c:pt idx="1431">
                  <c:v>0.05725</c:v>
                </c:pt>
                <c:pt idx="1432">
                  <c:v>0.05725</c:v>
                </c:pt>
                <c:pt idx="1433">
                  <c:v>0.05725</c:v>
                </c:pt>
                <c:pt idx="1434">
                  <c:v>0.05725</c:v>
                </c:pt>
                <c:pt idx="1435">
                  <c:v>0.05725</c:v>
                </c:pt>
                <c:pt idx="1436">
                  <c:v>0.05725</c:v>
                </c:pt>
                <c:pt idx="1437">
                  <c:v>0.05725</c:v>
                </c:pt>
                <c:pt idx="1438">
                  <c:v>0.05725</c:v>
                </c:pt>
                <c:pt idx="1439">
                  <c:v>0.05725</c:v>
                </c:pt>
                <c:pt idx="1440">
                  <c:v>0.05725</c:v>
                </c:pt>
                <c:pt idx="1441">
                  <c:v>0.05725</c:v>
                </c:pt>
                <c:pt idx="1442">
                  <c:v>0.05725</c:v>
                </c:pt>
                <c:pt idx="1443">
                  <c:v>0.05725</c:v>
                </c:pt>
                <c:pt idx="1444">
                  <c:v>0.05725</c:v>
                </c:pt>
                <c:pt idx="1445">
                  <c:v>0.05725</c:v>
                </c:pt>
                <c:pt idx="1446">
                  <c:v>0.05725</c:v>
                </c:pt>
                <c:pt idx="1447">
                  <c:v>0.05725</c:v>
                </c:pt>
                <c:pt idx="1448">
                  <c:v>0.05725</c:v>
                </c:pt>
                <c:pt idx="1449">
                  <c:v>0.05725</c:v>
                </c:pt>
                <c:pt idx="1450">
                  <c:v>0.05725</c:v>
                </c:pt>
                <c:pt idx="1451">
                  <c:v>0.05725</c:v>
                </c:pt>
                <c:pt idx="1452">
                  <c:v>0.05725</c:v>
                </c:pt>
                <c:pt idx="1453">
                  <c:v>0.05725</c:v>
                </c:pt>
                <c:pt idx="1454">
                  <c:v>0.05725</c:v>
                </c:pt>
                <c:pt idx="1455">
                  <c:v>0.05725</c:v>
                </c:pt>
                <c:pt idx="1456">
                  <c:v>0.05725</c:v>
                </c:pt>
                <c:pt idx="1457">
                  <c:v>0.05725</c:v>
                </c:pt>
                <c:pt idx="1458">
                  <c:v>0.05725</c:v>
                </c:pt>
                <c:pt idx="1459">
                  <c:v>0.05725</c:v>
                </c:pt>
                <c:pt idx="1460">
                  <c:v>0.05725</c:v>
                </c:pt>
                <c:pt idx="1461">
                  <c:v>0.05725</c:v>
                </c:pt>
                <c:pt idx="1462">
                  <c:v>0.05725</c:v>
                </c:pt>
                <c:pt idx="1463">
                  <c:v>0.05725</c:v>
                </c:pt>
                <c:pt idx="1464">
                  <c:v>0.05725</c:v>
                </c:pt>
                <c:pt idx="1465">
                  <c:v>0.05725</c:v>
                </c:pt>
                <c:pt idx="1466">
                  <c:v>0.05725</c:v>
                </c:pt>
                <c:pt idx="1467">
                  <c:v>0.05725</c:v>
                </c:pt>
                <c:pt idx="1468">
                  <c:v>0.05725</c:v>
                </c:pt>
                <c:pt idx="1469">
                  <c:v>0.05725</c:v>
                </c:pt>
                <c:pt idx="1470">
                  <c:v>0.05725</c:v>
                </c:pt>
                <c:pt idx="1471">
                  <c:v>0.05725</c:v>
                </c:pt>
                <c:pt idx="1472">
                  <c:v>0.05725</c:v>
                </c:pt>
                <c:pt idx="1473">
                  <c:v>0.05725</c:v>
                </c:pt>
                <c:pt idx="1474">
                  <c:v>0.05725</c:v>
                </c:pt>
                <c:pt idx="1475">
                  <c:v>0.05725</c:v>
                </c:pt>
                <c:pt idx="1476">
                  <c:v>0.05725</c:v>
                </c:pt>
                <c:pt idx="1477">
                  <c:v>0.05725</c:v>
                </c:pt>
                <c:pt idx="1478">
                  <c:v>0.05725</c:v>
                </c:pt>
                <c:pt idx="1479">
                  <c:v>0.05725</c:v>
                </c:pt>
                <c:pt idx="1480">
                  <c:v>0.05725</c:v>
                </c:pt>
                <c:pt idx="1481">
                  <c:v>0.05725</c:v>
                </c:pt>
                <c:pt idx="1482">
                  <c:v>0.05725</c:v>
                </c:pt>
                <c:pt idx="1483">
                  <c:v>0.05725</c:v>
                </c:pt>
                <c:pt idx="1484">
                  <c:v>0.05725</c:v>
                </c:pt>
                <c:pt idx="1485">
                  <c:v>0.05725</c:v>
                </c:pt>
                <c:pt idx="1486">
                  <c:v>0.05725</c:v>
                </c:pt>
                <c:pt idx="1487">
                  <c:v>0.05725</c:v>
                </c:pt>
                <c:pt idx="1488">
                  <c:v>0.05725</c:v>
                </c:pt>
                <c:pt idx="1489">
                  <c:v>0.05725</c:v>
                </c:pt>
                <c:pt idx="1490">
                  <c:v>0.05725</c:v>
                </c:pt>
                <c:pt idx="1491">
                  <c:v>0.05725</c:v>
                </c:pt>
                <c:pt idx="1492">
                  <c:v>0.05725</c:v>
                </c:pt>
                <c:pt idx="1493">
                  <c:v>0.05725</c:v>
                </c:pt>
                <c:pt idx="1494">
                  <c:v>0.05725</c:v>
                </c:pt>
                <c:pt idx="1495">
                  <c:v>0.05725</c:v>
                </c:pt>
                <c:pt idx="1496">
                  <c:v>0.05725</c:v>
                </c:pt>
                <c:pt idx="1497">
                  <c:v>0.05725</c:v>
                </c:pt>
                <c:pt idx="1498">
                  <c:v>0.05725</c:v>
                </c:pt>
                <c:pt idx="1499">
                  <c:v>0.05725</c:v>
                </c:pt>
                <c:pt idx="1500">
                  <c:v>0.05725</c:v>
                </c:pt>
                <c:pt idx="1501">
                  <c:v>0.05725</c:v>
                </c:pt>
                <c:pt idx="1502">
                  <c:v>0.05725</c:v>
                </c:pt>
                <c:pt idx="1503">
                  <c:v>0.05725</c:v>
                </c:pt>
                <c:pt idx="1504">
                  <c:v>0.05725</c:v>
                </c:pt>
                <c:pt idx="1505">
                  <c:v>0.05725</c:v>
                </c:pt>
                <c:pt idx="1506">
                  <c:v>0.0477083333333333</c:v>
                </c:pt>
                <c:pt idx="1507">
                  <c:v>0.0477083333333333</c:v>
                </c:pt>
                <c:pt idx="1508">
                  <c:v>0.0477083333333333</c:v>
                </c:pt>
                <c:pt idx="1509">
                  <c:v>0.0477083333333333</c:v>
                </c:pt>
                <c:pt idx="1510">
                  <c:v>0.0477083333333333</c:v>
                </c:pt>
                <c:pt idx="1511">
                  <c:v>0.0477083333333333</c:v>
                </c:pt>
                <c:pt idx="1512">
                  <c:v>0.0477083333333333</c:v>
                </c:pt>
                <c:pt idx="1513">
                  <c:v>0.0477083333333333</c:v>
                </c:pt>
                <c:pt idx="1514">
                  <c:v>0.0477083333333333</c:v>
                </c:pt>
                <c:pt idx="1515">
                  <c:v>0.0477083333333333</c:v>
                </c:pt>
                <c:pt idx="1516">
                  <c:v>0.0477083333333333</c:v>
                </c:pt>
                <c:pt idx="1517">
                  <c:v>0.0477083333333333</c:v>
                </c:pt>
                <c:pt idx="1518">
                  <c:v>0.0477083333333333</c:v>
                </c:pt>
                <c:pt idx="1519">
                  <c:v>0.0477083333333333</c:v>
                </c:pt>
                <c:pt idx="1520">
                  <c:v>0.0477083333333333</c:v>
                </c:pt>
                <c:pt idx="1521">
                  <c:v>0.0477083333333333</c:v>
                </c:pt>
                <c:pt idx="1522">
                  <c:v>0.0477083333333333</c:v>
                </c:pt>
                <c:pt idx="1523">
                  <c:v>0.0477083333333333</c:v>
                </c:pt>
                <c:pt idx="1524">
                  <c:v>0.0477083333333333</c:v>
                </c:pt>
                <c:pt idx="1525">
                  <c:v>0.0477083333333333</c:v>
                </c:pt>
                <c:pt idx="1526">
                  <c:v>0.0477083333333333</c:v>
                </c:pt>
                <c:pt idx="1527">
                  <c:v>0.0477083333333333</c:v>
                </c:pt>
                <c:pt idx="1528">
                  <c:v>0.0477083333333333</c:v>
                </c:pt>
                <c:pt idx="1529">
                  <c:v>0.0477083333333333</c:v>
                </c:pt>
                <c:pt idx="1530">
                  <c:v>0.0477083333333333</c:v>
                </c:pt>
                <c:pt idx="1531">
                  <c:v>0.0477083333333333</c:v>
                </c:pt>
                <c:pt idx="1532">
                  <c:v>0.0477083333333333</c:v>
                </c:pt>
                <c:pt idx="1533">
                  <c:v>0.0477083333333333</c:v>
                </c:pt>
                <c:pt idx="1534">
                  <c:v>0.0477083333333333</c:v>
                </c:pt>
                <c:pt idx="1535">
                  <c:v>0.0477083333333333</c:v>
                </c:pt>
                <c:pt idx="1536">
                  <c:v>0.0477083333333333</c:v>
                </c:pt>
                <c:pt idx="1537">
                  <c:v>0.0477083333333333</c:v>
                </c:pt>
                <c:pt idx="1538">
                  <c:v>0.0477083333333333</c:v>
                </c:pt>
                <c:pt idx="1539">
                  <c:v>0.0477083333333333</c:v>
                </c:pt>
                <c:pt idx="1540">
                  <c:v>0.0477083333333333</c:v>
                </c:pt>
                <c:pt idx="1541">
                  <c:v>0.0477083333333333</c:v>
                </c:pt>
                <c:pt idx="1542">
                  <c:v>0.0477083333333333</c:v>
                </c:pt>
                <c:pt idx="1543">
                  <c:v>0.0477083333333333</c:v>
                </c:pt>
                <c:pt idx="1544">
                  <c:v>0.0477083333333333</c:v>
                </c:pt>
                <c:pt idx="1545">
                  <c:v>0.0477083333333333</c:v>
                </c:pt>
                <c:pt idx="1546">
                  <c:v>0.0477083333333333</c:v>
                </c:pt>
                <c:pt idx="1547">
                  <c:v>0.0477083333333333</c:v>
                </c:pt>
                <c:pt idx="1548">
                  <c:v>0.0477083333333333</c:v>
                </c:pt>
                <c:pt idx="1549">
                  <c:v>0.0477083333333333</c:v>
                </c:pt>
                <c:pt idx="1550">
                  <c:v>0.0477083333333333</c:v>
                </c:pt>
                <c:pt idx="1551">
                  <c:v>0.0477083333333333</c:v>
                </c:pt>
                <c:pt idx="1552">
                  <c:v>0.0477083333333333</c:v>
                </c:pt>
                <c:pt idx="1553">
                  <c:v>0.0477083333333333</c:v>
                </c:pt>
                <c:pt idx="1554">
                  <c:v>0.0477083333333333</c:v>
                </c:pt>
                <c:pt idx="1555">
                  <c:v>0.0477083333333333</c:v>
                </c:pt>
                <c:pt idx="1556">
                  <c:v>0.0477083333333333</c:v>
                </c:pt>
                <c:pt idx="1557">
                  <c:v>0.0477083333333333</c:v>
                </c:pt>
                <c:pt idx="1558">
                  <c:v>0.0477083333333333</c:v>
                </c:pt>
                <c:pt idx="1559">
                  <c:v>0.0477083333333333</c:v>
                </c:pt>
                <c:pt idx="1560">
                  <c:v>0.0477083333333333</c:v>
                </c:pt>
                <c:pt idx="1561">
                  <c:v>0.0477083333333333</c:v>
                </c:pt>
                <c:pt idx="1562">
                  <c:v>0.0477083333333333</c:v>
                </c:pt>
                <c:pt idx="1563">
                  <c:v>0.0477083333333333</c:v>
                </c:pt>
                <c:pt idx="1564">
                  <c:v>0.0477083333333333</c:v>
                </c:pt>
                <c:pt idx="1565">
                  <c:v>0.0477083333333333</c:v>
                </c:pt>
                <c:pt idx="1566">
                  <c:v>0.0477083333333333</c:v>
                </c:pt>
                <c:pt idx="1567">
                  <c:v>0.0477083333333333</c:v>
                </c:pt>
                <c:pt idx="1568">
                  <c:v>0.0477083333333333</c:v>
                </c:pt>
                <c:pt idx="1569">
                  <c:v>0.0477083333333333</c:v>
                </c:pt>
                <c:pt idx="1570">
                  <c:v>0.0477083333333333</c:v>
                </c:pt>
                <c:pt idx="1571">
                  <c:v>0.0477083333333333</c:v>
                </c:pt>
                <c:pt idx="1572">
                  <c:v>0.0477083333333333</c:v>
                </c:pt>
                <c:pt idx="1573">
                  <c:v>0.0477083333333333</c:v>
                </c:pt>
                <c:pt idx="1574">
                  <c:v>0.0477083333333333</c:v>
                </c:pt>
                <c:pt idx="1575">
                  <c:v>0.0477083333333333</c:v>
                </c:pt>
                <c:pt idx="1576">
                  <c:v>0.0477083333333333</c:v>
                </c:pt>
                <c:pt idx="1577">
                  <c:v>0.0477083333333333</c:v>
                </c:pt>
                <c:pt idx="1578">
                  <c:v>0.0477083333333333</c:v>
                </c:pt>
                <c:pt idx="1579">
                  <c:v>0.0477083333333333</c:v>
                </c:pt>
                <c:pt idx="1580">
                  <c:v>0.0477083333333333</c:v>
                </c:pt>
                <c:pt idx="1581">
                  <c:v>0.0477083333333333</c:v>
                </c:pt>
                <c:pt idx="1582">
                  <c:v>0.0477083333333333</c:v>
                </c:pt>
                <c:pt idx="1583">
                  <c:v>0.0477083333333333</c:v>
                </c:pt>
                <c:pt idx="1584">
                  <c:v>0.0477083333333333</c:v>
                </c:pt>
                <c:pt idx="1585">
                  <c:v>0.0477083333333333</c:v>
                </c:pt>
                <c:pt idx="1586">
                  <c:v>0.0477083333333333</c:v>
                </c:pt>
                <c:pt idx="1587">
                  <c:v>0.0477083333333333</c:v>
                </c:pt>
                <c:pt idx="1588">
                  <c:v>0.0477083333333333</c:v>
                </c:pt>
                <c:pt idx="1589">
                  <c:v>0.0477083333333333</c:v>
                </c:pt>
                <c:pt idx="1590">
                  <c:v>0.0477083333333333</c:v>
                </c:pt>
                <c:pt idx="1591">
                  <c:v>0.0477083333333333</c:v>
                </c:pt>
                <c:pt idx="1592">
                  <c:v>0.0477083333333333</c:v>
                </c:pt>
                <c:pt idx="1593">
                  <c:v>0.0477083333333333</c:v>
                </c:pt>
                <c:pt idx="1594">
                  <c:v>0.0477083333333333</c:v>
                </c:pt>
                <c:pt idx="1595">
                  <c:v>0.0477083333333333</c:v>
                </c:pt>
                <c:pt idx="1596">
                  <c:v>0.0477083333333333</c:v>
                </c:pt>
                <c:pt idx="1597">
                  <c:v>0.0477083333333333</c:v>
                </c:pt>
                <c:pt idx="1598">
                  <c:v>0.0477083333333333</c:v>
                </c:pt>
                <c:pt idx="1599">
                  <c:v>0.0477083333333333</c:v>
                </c:pt>
                <c:pt idx="1600">
                  <c:v>0.0477083333333333</c:v>
                </c:pt>
                <c:pt idx="1601">
                  <c:v>0.0477083333333333</c:v>
                </c:pt>
                <c:pt idx="1602">
                  <c:v>0.0477083333333333</c:v>
                </c:pt>
                <c:pt idx="1603">
                  <c:v>0.0477083333333333</c:v>
                </c:pt>
                <c:pt idx="1604">
                  <c:v>0.0477083333333333</c:v>
                </c:pt>
                <c:pt idx="1605">
                  <c:v>0.0477083333333333</c:v>
                </c:pt>
                <c:pt idx="1606">
                  <c:v>0.0477083333333333</c:v>
                </c:pt>
                <c:pt idx="1607">
                  <c:v>0.0477083333333333</c:v>
                </c:pt>
                <c:pt idx="1608">
                  <c:v>0.0477083333333333</c:v>
                </c:pt>
                <c:pt idx="1609">
                  <c:v>0.0477083333333333</c:v>
                </c:pt>
                <c:pt idx="1610">
                  <c:v>0.0477083333333333</c:v>
                </c:pt>
                <c:pt idx="1611">
                  <c:v>0.0477083333333333</c:v>
                </c:pt>
                <c:pt idx="1612">
                  <c:v>0.0477083333333333</c:v>
                </c:pt>
                <c:pt idx="1613">
                  <c:v>0.0477083333333333</c:v>
                </c:pt>
                <c:pt idx="1614">
                  <c:v>0.0477083333333333</c:v>
                </c:pt>
                <c:pt idx="1615">
                  <c:v>0.0477083333333333</c:v>
                </c:pt>
                <c:pt idx="1616">
                  <c:v>0.0477083333333333</c:v>
                </c:pt>
                <c:pt idx="1617">
                  <c:v>0.0477083333333333</c:v>
                </c:pt>
                <c:pt idx="1618">
                  <c:v>0.0477083333333333</c:v>
                </c:pt>
                <c:pt idx="1619">
                  <c:v>0.0477083333333333</c:v>
                </c:pt>
                <c:pt idx="1620">
                  <c:v>0.0477083333333333</c:v>
                </c:pt>
                <c:pt idx="1621">
                  <c:v>0.0477083333333333</c:v>
                </c:pt>
                <c:pt idx="1622">
                  <c:v>0.0477083333333333</c:v>
                </c:pt>
                <c:pt idx="1623">
                  <c:v>0.0477083333333333</c:v>
                </c:pt>
                <c:pt idx="1624">
                  <c:v>0.0477083333333333</c:v>
                </c:pt>
                <c:pt idx="1625">
                  <c:v>0.0477083333333333</c:v>
                </c:pt>
                <c:pt idx="1626">
                  <c:v>0.0477083333333333</c:v>
                </c:pt>
                <c:pt idx="1627">
                  <c:v>0.0477083333333333</c:v>
                </c:pt>
                <c:pt idx="1628">
                  <c:v>0.0477083333333333</c:v>
                </c:pt>
                <c:pt idx="1629">
                  <c:v>0.0477083333333333</c:v>
                </c:pt>
                <c:pt idx="1630">
                  <c:v>0.0477083333333333</c:v>
                </c:pt>
                <c:pt idx="1631">
                  <c:v>0.0477083333333333</c:v>
                </c:pt>
                <c:pt idx="1632">
                  <c:v>0.0477083333333333</c:v>
                </c:pt>
                <c:pt idx="1633">
                  <c:v>0.0477083333333333</c:v>
                </c:pt>
                <c:pt idx="1634">
                  <c:v>0.0477083333333333</c:v>
                </c:pt>
                <c:pt idx="1635">
                  <c:v>0.0477083333333333</c:v>
                </c:pt>
                <c:pt idx="1636">
                  <c:v>0.0477083333333333</c:v>
                </c:pt>
                <c:pt idx="1637">
                  <c:v>0.0477083333333333</c:v>
                </c:pt>
                <c:pt idx="1638">
                  <c:v>0.0477083333333333</c:v>
                </c:pt>
                <c:pt idx="1639">
                  <c:v>0.0477083333333333</c:v>
                </c:pt>
                <c:pt idx="1640">
                  <c:v>0.0477083333333333</c:v>
                </c:pt>
                <c:pt idx="1641">
                  <c:v>0.0477083333333333</c:v>
                </c:pt>
                <c:pt idx="1642">
                  <c:v>0.0477083333333333</c:v>
                </c:pt>
                <c:pt idx="1643">
                  <c:v>0.0477083333333333</c:v>
                </c:pt>
                <c:pt idx="1644">
                  <c:v>0.0477083333333333</c:v>
                </c:pt>
                <c:pt idx="1645">
                  <c:v>0.0477083333333333</c:v>
                </c:pt>
                <c:pt idx="1646">
                  <c:v>0.0477083333333333</c:v>
                </c:pt>
                <c:pt idx="1647">
                  <c:v>0.0477083333333333</c:v>
                </c:pt>
                <c:pt idx="1648">
                  <c:v>0.0477083333333333</c:v>
                </c:pt>
                <c:pt idx="1649">
                  <c:v>0.0477083333333333</c:v>
                </c:pt>
                <c:pt idx="1650">
                  <c:v>0.0381666666666667</c:v>
                </c:pt>
                <c:pt idx="1651">
                  <c:v>0.0381666666666667</c:v>
                </c:pt>
                <c:pt idx="1652">
                  <c:v>0.0381666666666667</c:v>
                </c:pt>
                <c:pt idx="1653">
                  <c:v>0.0381666666666667</c:v>
                </c:pt>
                <c:pt idx="1654">
                  <c:v>0.0381666666666667</c:v>
                </c:pt>
                <c:pt idx="1655">
                  <c:v>0.0381666666666667</c:v>
                </c:pt>
                <c:pt idx="1656">
                  <c:v>0.0381666666666667</c:v>
                </c:pt>
                <c:pt idx="1657">
                  <c:v>0.0381666666666667</c:v>
                </c:pt>
                <c:pt idx="1658">
                  <c:v>0.0381666666666667</c:v>
                </c:pt>
                <c:pt idx="1659">
                  <c:v>0.0381666666666667</c:v>
                </c:pt>
                <c:pt idx="1660">
                  <c:v>0.0381666666666667</c:v>
                </c:pt>
                <c:pt idx="1661">
                  <c:v>0.0381666666666667</c:v>
                </c:pt>
                <c:pt idx="1662">
                  <c:v>0.0381666666666667</c:v>
                </c:pt>
                <c:pt idx="1663">
                  <c:v>0.0381666666666667</c:v>
                </c:pt>
                <c:pt idx="1664">
                  <c:v>0.0381666666666667</c:v>
                </c:pt>
                <c:pt idx="1665">
                  <c:v>0.0381666666666667</c:v>
                </c:pt>
                <c:pt idx="1666">
                  <c:v>0.0381666666666667</c:v>
                </c:pt>
                <c:pt idx="1667">
                  <c:v>0.0381666666666667</c:v>
                </c:pt>
                <c:pt idx="1668">
                  <c:v>0.0381666666666667</c:v>
                </c:pt>
                <c:pt idx="1669">
                  <c:v>0.0381666666666667</c:v>
                </c:pt>
                <c:pt idx="1670">
                  <c:v>0.0381666666666667</c:v>
                </c:pt>
                <c:pt idx="1671">
                  <c:v>0.0381666666666667</c:v>
                </c:pt>
                <c:pt idx="1672">
                  <c:v>0.0381666666666667</c:v>
                </c:pt>
                <c:pt idx="1673">
                  <c:v>0.0381666666666667</c:v>
                </c:pt>
                <c:pt idx="1674">
                  <c:v>0.0381666666666667</c:v>
                </c:pt>
                <c:pt idx="1675">
                  <c:v>0.0381666666666667</c:v>
                </c:pt>
                <c:pt idx="1676">
                  <c:v>0.0381666666666667</c:v>
                </c:pt>
                <c:pt idx="1677">
                  <c:v>0.0381666666666667</c:v>
                </c:pt>
                <c:pt idx="1678">
                  <c:v>0.0381666666666667</c:v>
                </c:pt>
                <c:pt idx="1679">
                  <c:v>0.0381666666666667</c:v>
                </c:pt>
                <c:pt idx="1680">
                  <c:v>0.0381666666666667</c:v>
                </c:pt>
                <c:pt idx="1681">
                  <c:v>0.0381666666666667</c:v>
                </c:pt>
                <c:pt idx="1682">
                  <c:v>0.0381666666666667</c:v>
                </c:pt>
                <c:pt idx="1683">
                  <c:v>0.0381666666666667</c:v>
                </c:pt>
                <c:pt idx="1684">
                  <c:v>0.0381666666666667</c:v>
                </c:pt>
                <c:pt idx="1685">
                  <c:v>0.0381666666666667</c:v>
                </c:pt>
                <c:pt idx="1686">
                  <c:v>0.0381666666666667</c:v>
                </c:pt>
                <c:pt idx="1687">
                  <c:v>0.0381666666666667</c:v>
                </c:pt>
                <c:pt idx="1688">
                  <c:v>0.0381666666666667</c:v>
                </c:pt>
                <c:pt idx="1689">
                  <c:v>0.0381666666666667</c:v>
                </c:pt>
                <c:pt idx="1690">
                  <c:v>0.0381666666666667</c:v>
                </c:pt>
                <c:pt idx="1691">
                  <c:v>0.0381666666666667</c:v>
                </c:pt>
                <c:pt idx="1692">
                  <c:v>0.0381666666666667</c:v>
                </c:pt>
                <c:pt idx="1693">
                  <c:v>0.0381666666666667</c:v>
                </c:pt>
                <c:pt idx="1694">
                  <c:v>0.0381666666666667</c:v>
                </c:pt>
                <c:pt idx="1695">
                  <c:v>0.0381666666666667</c:v>
                </c:pt>
                <c:pt idx="1696">
                  <c:v>0.0381666666666667</c:v>
                </c:pt>
                <c:pt idx="1697">
                  <c:v>0.0381666666666667</c:v>
                </c:pt>
                <c:pt idx="1698">
                  <c:v>0.0381666666666667</c:v>
                </c:pt>
                <c:pt idx="1699">
                  <c:v>0.0381666666666667</c:v>
                </c:pt>
                <c:pt idx="1700">
                  <c:v>0.0381666666666667</c:v>
                </c:pt>
                <c:pt idx="1701">
                  <c:v>0.0381666666666667</c:v>
                </c:pt>
                <c:pt idx="1702">
                  <c:v>0.0381666666666667</c:v>
                </c:pt>
                <c:pt idx="1703">
                  <c:v>0.0381666666666667</c:v>
                </c:pt>
                <c:pt idx="1704">
                  <c:v>0.0381666666666667</c:v>
                </c:pt>
                <c:pt idx="1705">
                  <c:v>0.0381666666666667</c:v>
                </c:pt>
                <c:pt idx="1706">
                  <c:v>0.0381666666666667</c:v>
                </c:pt>
                <c:pt idx="1707">
                  <c:v>0.0381666666666667</c:v>
                </c:pt>
                <c:pt idx="1708">
                  <c:v>0.0381666666666667</c:v>
                </c:pt>
                <c:pt idx="1709">
                  <c:v>0.0381666666666667</c:v>
                </c:pt>
                <c:pt idx="1710">
                  <c:v>0.0381666666666667</c:v>
                </c:pt>
                <c:pt idx="1711">
                  <c:v>0.0381666666666667</c:v>
                </c:pt>
                <c:pt idx="1712">
                  <c:v>0.0381666666666667</c:v>
                </c:pt>
                <c:pt idx="1713">
                  <c:v>0.0381666666666667</c:v>
                </c:pt>
                <c:pt idx="1714">
                  <c:v>0.0381666666666667</c:v>
                </c:pt>
                <c:pt idx="1715">
                  <c:v>0.0381666666666667</c:v>
                </c:pt>
                <c:pt idx="1716">
                  <c:v>0.0381666666666667</c:v>
                </c:pt>
                <c:pt idx="1717">
                  <c:v>0.0381666666666667</c:v>
                </c:pt>
                <c:pt idx="1718">
                  <c:v>0.0381666666666667</c:v>
                </c:pt>
                <c:pt idx="1719">
                  <c:v>0.0381666666666667</c:v>
                </c:pt>
                <c:pt idx="1720">
                  <c:v>0.0381666666666667</c:v>
                </c:pt>
                <c:pt idx="1721">
                  <c:v>0.0381666666666667</c:v>
                </c:pt>
                <c:pt idx="1722">
                  <c:v>0.0381666666666667</c:v>
                </c:pt>
                <c:pt idx="1723">
                  <c:v>0.0381666666666667</c:v>
                </c:pt>
                <c:pt idx="1724">
                  <c:v>0.0381666666666667</c:v>
                </c:pt>
                <c:pt idx="1725">
                  <c:v>0.0381666666666667</c:v>
                </c:pt>
                <c:pt idx="1726">
                  <c:v>0.0381666666666667</c:v>
                </c:pt>
                <c:pt idx="1727">
                  <c:v>0.0381666666666667</c:v>
                </c:pt>
                <c:pt idx="1728">
                  <c:v>0.0381666666666667</c:v>
                </c:pt>
                <c:pt idx="1729">
                  <c:v>0.0381666666666667</c:v>
                </c:pt>
                <c:pt idx="1730">
                  <c:v>0.0381666666666667</c:v>
                </c:pt>
                <c:pt idx="1731">
                  <c:v>0.0381666666666667</c:v>
                </c:pt>
                <c:pt idx="1732">
                  <c:v>0.0381666666666667</c:v>
                </c:pt>
                <c:pt idx="1733">
                  <c:v>0.0381666666666667</c:v>
                </c:pt>
                <c:pt idx="1734">
                  <c:v>0.0381666666666667</c:v>
                </c:pt>
                <c:pt idx="1735">
                  <c:v>0.0381666666666667</c:v>
                </c:pt>
                <c:pt idx="1736">
                  <c:v>0.0381666666666667</c:v>
                </c:pt>
                <c:pt idx="1737">
                  <c:v>0.0381666666666667</c:v>
                </c:pt>
                <c:pt idx="1738">
                  <c:v>0.0381666666666667</c:v>
                </c:pt>
                <c:pt idx="1739">
                  <c:v>0.0381666666666667</c:v>
                </c:pt>
                <c:pt idx="1740">
                  <c:v>0.0381666666666667</c:v>
                </c:pt>
                <c:pt idx="1741">
                  <c:v>0.0381666666666667</c:v>
                </c:pt>
                <c:pt idx="1742">
                  <c:v>0.0381666666666667</c:v>
                </c:pt>
                <c:pt idx="1743">
                  <c:v>0.0381666666666667</c:v>
                </c:pt>
                <c:pt idx="1744">
                  <c:v>0.0381666666666667</c:v>
                </c:pt>
                <c:pt idx="1745">
                  <c:v>0.0381666666666667</c:v>
                </c:pt>
                <c:pt idx="1746">
                  <c:v>0.0381666666666667</c:v>
                </c:pt>
                <c:pt idx="1747">
                  <c:v>0.0381666666666667</c:v>
                </c:pt>
                <c:pt idx="1748">
                  <c:v>0.0381666666666667</c:v>
                </c:pt>
                <c:pt idx="1749">
                  <c:v>0.0381666666666667</c:v>
                </c:pt>
                <c:pt idx="1750">
                  <c:v>0.0381666666666667</c:v>
                </c:pt>
                <c:pt idx="1751">
                  <c:v>0.0381666666666667</c:v>
                </c:pt>
                <c:pt idx="1752">
                  <c:v>0.0381666666666667</c:v>
                </c:pt>
                <c:pt idx="1753">
                  <c:v>0.0381666666666667</c:v>
                </c:pt>
                <c:pt idx="1754">
                  <c:v>0.0381666666666667</c:v>
                </c:pt>
                <c:pt idx="1755">
                  <c:v>0.0381666666666667</c:v>
                </c:pt>
                <c:pt idx="1756">
                  <c:v>0.0381666666666667</c:v>
                </c:pt>
                <c:pt idx="1757">
                  <c:v>0.0381666666666667</c:v>
                </c:pt>
                <c:pt idx="1758">
                  <c:v>0.0381666666666667</c:v>
                </c:pt>
                <c:pt idx="1759">
                  <c:v>0.0381666666666667</c:v>
                </c:pt>
                <c:pt idx="1760">
                  <c:v>0.0381666666666667</c:v>
                </c:pt>
                <c:pt idx="1761">
                  <c:v>0.0381666666666667</c:v>
                </c:pt>
                <c:pt idx="1762">
                  <c:v>0.0381666666666667</c:v>
                </c:pt>
                <c:pt idx="1763">
                  <c:v>0.0381666666666667</c:v>
                </c:pt>
                <c:pt idx="1764">
                  <c:v>0.0381666666666667</c:v>
                </c:pt>
                <c:pt idx="1765">
                  <c:v>0.0381666666666667</c:v>
                </c:pt>
                <c:pt idx="1766">
                  <c:v>0.0381666666666667</c:v>
                </c:pt>
                <c:pt idx="1767">
                  <c:v>0.0381666666666667</c:v>
                </c:pt>
                <c:pt idx="1768">
                  <c:v>0.0381666666666667</c:v>
                </c:pt>
                <c:pt idx="1769">
                  <c:v>0.0381666666666667</c:v>
                </c:pt>
                <c:pt idx="1770">
                  <c:v>0.0381666666666667</c:v>
                </c:pt>
                <c:pt idx="1771">
                  <c:v>0.0381666666666667</c:v>
                </c:pt>
                <c:pt idx="1772">
                  <c:v>0.0381666666666667</c:v>
                </c:pt>
                <c:pt idx="1773">
                  <c:v>0.0381666666666667</c:v>
                </c:pt>
                <c:pt idx="1774">
                  <c:v>0.0381666666666667</c:v>
                </c:pt>
                <c:pt idx="1775">
                  <c:v>0.0381666666666667</c:v>
                </c:pt>
                <c:pt idx="1776">
                  <c:v>0.0381666666666667</c:v>
                </c:pt>
                <c:pt idx="1777">
                  <c:v>0.0381666666666667</c:v>
                </c:pt>
                <c:pt idx="1778">
                  <c:v>0.0381666666666667</c:v>
                </c:pt>
                <c:pt idx="1779">
                  <c:v>0.0381666666666667</c:v>
                </c:pt>
                <c:pt idx="1780">
                  <c:v>0.0381666666666667</c:v>
                </c:pt>
                <c:pt idx="1781">
                  <c:v>0.0381666666666667</c:v>
                </c:pt>
                <c:pt idx="1782">
                  <c:v>0.0381666666666667</c:v>
                </c:pt>
                <c:pt idx="1783">
                  <c:v>0.0381666666666667</c:v>
                </c:pt>
                <c:pt idx="1784">
                  <c:v>0.0381666666666667</c:v>
                </c:pt>
                <c:pt idx="1785">
                  <c:v>0.0381666666666667</c:v>
                </c:pt>
                <c:pt idx="1786">
                  <c:v>0.0381666666666667</c:v>
                </c:pt>
                <c:pt idx="1787">
                  <c:v>0.0381666666666667</c:v>
                </c:pt>
                <c:pt idx="1788">
                  <c:v>0.0381666666666667</c:v>
                </c:pt>
                <c:pt idx="1789">
                  <c:v>0.0381666666666667</c:v>
                </c:pt>
                <c:pt idx="1790">
                  <c:v>0.0381666666666667</c:v>
                </c:pt>
                <c:pt idx="1791">
                  <c:v>0.0381666666666667</c:v>
                </c:pt>
                <c:pt idx="1792">
                  <c:v>0.0381666666666667</c:v>
                </c:pt>
                <c:pt idx="1793">
                  <c:v>0.0381666666666667</c:v>
                </c:pt>
                <c:pt idx="1794">
                  <c:v>0.0381666666666667</c:v>
                </c:pt>
                <c:pt idx="1795">
                  <c:v>0.0381666666666667</c:v>
                </c:pt>
                <c:pt idx="1796">
                  <c:v>0.0381666666666667</c:v>
                </c:pt>
                <c:pt idx="1797">
                  <c:v>0.0381666666666667</c:v>
                </c:pt>
                <c:pt idx="1798">
                  <c:v>0.0381666666666667</c:v>
                </c:pt>
                <c:pt idx="1799">
                  <c:v>0.0381666666666667</c:v>
                </c:pt>
                <c:pt idx="1800">
                  <c:v>0.0381666666666667</c:v>
                </c:pt>
                <c:pt idx="1801">
                  <c:v>0.0381666666666667</c:v>
                </c:pt>
                <c:pt idx="1802">
                  <c:v>0.0381666666666667</c:v>
                </c:pt>
                <c:pt idx="1803">
                  <c:v>0.0381666666666667</c:v>
                </c:pt>
                <c:pt idx="1804">
                  <c:v>0.0381666666666667</c:v>
                </c:pt>
                <c:pt idx="1805">
                  <c:v>0.0381666666666667</c:v>
                </c:pt>
                <c:pt idx="1806">
                  <c:v>0.0381666666666667</c:v>
                </c:pt>
                <c:pt idx="1807">
                  <c:v>0.0381666666666667</c:v>
                </c:pt>
                <c:pt idx="1808">
                  <c:v>0.0381666666666667</c:v>
                </c:pt>
                <c:pt idx="1809">
                  <c:v>0.0381666666666667</c:v>
                </c:pt>
                <c:pt idx="1810">
                  <c:v>0.0381666666666667</c:v>
                </c:pt>
                <c:pt idx="1811">
                  <c:v>0.0381666666666667</c:v>
                </c:pt>
                <c:pt idx="1812">
                  <c:v>0.0381666666666667</c:v>
                </c:pt>
                <c:pt idx="1813">
                  <c:v>0.0381666666666667</c:v>
                </c:pt>
                <c:pt idx="1814">
                  <c:v>0.0381666666666667</c:v>
                </c:pt>
                <c:pt idx="1815">
                  <c:v>0.0381666666666667</c:v>
                </c:pt>
                <c:pt idx="1816">
                  <c:v>0.028625</c:v>
                </c:pt>
                <c:pt idx="1817">
                  <c:v>0.028625</c:v>
                </c:pt>
                <c:pt idx="1818">
                  <c:v>0.028625</c:v>
                </c:pt>
                <c:pt idx="1819">
                  <c:v>0.028625</c:v>
                </c:pt>
                <c:pt idx="1820">
                  <c:v>0.028625</c:v>
                </c:pt>
                <c:pt idx="1821">
                  <c:v>0.028625</c:v>
                </c:pt>
                <c:pt idx="1822">
                  <c:v>0.028625</c:v>
                </c:pt>
                <c:pt idx="1823">
                  <c:v>0.028625</c:v>
                </c:pt>
                <c:pt idx="1824">
                  <c:v>0.028625</c:v>
                </c:pt>
                <c:pt idx="1825">
                  <c:v>0.028625</c:v>
                </c:pt>
                <c:pt idx="1826">
                  <c:v>0.028625</c:v>
                </c:pt>
                <c:pt idx="1827">
                  <c:v>0.028625</c:v>
                </c:pt>
                <c:pt idx="1828">
                  <c:v>0.028625</c:v>
                </c:pt>
                <c:pt idx="1829">
                  <c:v>0.028625</c:v>
                </c:pt>
                <c:pt idx="1830">
                  <c:v>0.028625</c:v>
                </c:pt>
                <c:pt idx="1831">
                  <c:v>0.028625</c:v>
                </c:pt>
                <c:pt idx="1832">
                  <c:v>0.028625</c:v>
                </c:pt>
                <c:pt idx="1833">
                  <c:v>0.028625</c:v>
                </c:pt>
                <c:pt idx="1834">
                  <c:v>0.028625</c:v>
                </c:pt>
                <c:pt idx="1835">
                  <c:v>0.028625</c:v>
                </c:pt>
                <c:pt idx="1836">
                  <c:v>0.028625</c:v>
                </c:pt>
                <c:pt idx="1837">
                  <c:v>0.028625</c:v>
                </c:pt>
                <c:pt idx="1838">
                  <c:v>0.028625</c:v>
                </c:pt>
                <c:pt idx="1839">
                  <c:v>0.028625</c:v>
                </c:pt>
                <c:pt idx="1840">
                  <c:v>0.028625</c:v>
                </c:pt>
                <c:pt idx="1841">
                  <c:v>0.028625</c:v>
                </c:pt>
                <c:pt idx="1842">
                  <c:v>0.028625</c:v>
                </c:pt>
                <c:pt idx="1843">
                  <c:v>0.028625</c:v>
                </c:pt>
                <c:pt idx="1844">
                  <c:v>0.028625</c:v>
                </c:pt>
                <c:pt idx="1845">
                  <c:v>0.028625</c:v>
                </c:pt>
                <c:pt idx="1846">
                  <c:v>0.028625</c:v>
                </c:pt>
                <c:pt idx="1847">
                  <c:v>0.028625</c:v>
                </c:pt>
                <c:pt idx="1848">
                  <c:v>0.028625</c:v>
                </c:pt>
                <c:pt idx="1849">
                  <c:v>0.028625</c:v>
                </c:pt>
                <c:pt idx="1850">
                  <c:v>0.028625</c:v>
                </c:pt>
                <c:pt idx="1851">
                  <c:v>0.028625</c:v>
                </c:pt>
                <c:pt idx="1852">
                  <c:v>0.028625</c:v>
                </c:pt>
                <c:pt idx="1853">
                  <c:v>0.028625</c:v>
                </c:pt>
                <c:pt idx="1854">
                  <c:v>0.028625</c:v>
                </c:pt>
                <c:pt idx="1855">
                  <c:v>0.028625</c:v>
                </c:pt>
                <c:pt idx="1856">
                  <c:v>0.028625</c:v>
                </c:pt>
                <c:pt idx="1857">
                  <c:v>0.028625</c:v>
                </c:pt>
                <c:pt idx="1858">
                  <c:v>0.028625</c:v>
                </c:pt>
                <c:pt idx="1859">
                  <c:v>0.028625</c:v>
                </c:pt>
                <c:pt idx="1860">
                  <c:v>0.028625</c:v>
                </c:pt>
                <c:pt idx="1861">
                  <c:v>0.028625</c:v>
                </c:pt>
                <c:pt idx="1862">
                  <c:v>0.028625</c:v>
                </c:pt>
                <c:pt idx="1863">
                  <c:v>0.028625</c:v>
                </c:pt>
                <c:pt idx="1864">
                  <c:v>0.028625</c:v>
                </c:pt>
                <c:pt idx="1865">
                  <c:v>0.028625</c:v>
                </c:pt>
                <c:pt idx="1866">
                  <c:v>0.028625</c:v>
                </c:pt>
                <c:pt idx="1867">
                  <c:v>0.028625</c:v>
                </c:pt>
                <c:pt idx="1868">
                  <c:v>0.028625</c:v>
                </c:pt>
                <c:pt idx="1869">
                  <c:v>0.028625</c:v>
                </c:pt>
                <c:pt idx="1870">
                  <c:v>0.028625</c:v>
                </c:pt>
                <c:pt idx="1871">
                  <c:v>0.028625</c:v>
                </c:pt>
                <c:pt idx="1872">
                  <c:v>0.028625</c:v>
                </c:pt>
                <c:pt idx="1873">
                  <c:v>0.028625</c:v>
                </c:pt>
                <c:pt idx="1874">
                  <c:v>0.028625</c:v>
                </c:pt>
                <c:pt idx="1875">
                  <c:v>0.028625</c:v>
                </c:pt>
                <c:pt idx="1876">
                  <c:v>0.028625</c:v>
                </c:pt>
                <c:pt idx="1877">
                  <c:v>0.028625</c:v>
                </c:pt>
                <c:pt idx="1878">
                  <c:v>0.028625</c:v>
                </c:pt>
                <c:pt idx="1879">
                  <c:v>0.028625</c:v>
                </c:pt>
                <c:pt idx="1880">
                  <c:v>0.028625</c:v>
                </c:pt>
                <c:pt idx="1881">
                  <c:v>0.028625</c:v>
                </c:pt>
                <c:pt idx="1882">
                  <c:v>0.028625</c:v>
                </c:pt>
                <c:pt idx="1883">
                  <c:v>0.028625</c:v>
                </c:pt>
                <c:pt idx="1884">
                  <c:v>0.028625</c:v>
                </c:pt>
                <c:pt idx="1885">
                  <c:v>0.028625</c:v>
                </c:pt>
                <c:pt idx="1886">
                  <c:v>0.028625</c:v>
                </c:pt>
                <c:pt idx="1887">
                  <c:v>0.028625</c:v>
                </c:pt>
                <c:pt idx="1888">
                  <c:v>0.028625</c:v>
                </c:pt>
                <c:pt idx="1889">
                  <c:v>0.028625</c:v>
                </c:pt>
                <c:pt idx="1890">
                  <c:v>0.028625</c:v>
                </c:pt>
                <c:pt idx="1891">
                  <c:v>0.028625</c:v>
                </c:pt>
                <c:pt idx="1892">
                  <c:v>0.028625</c:v>
                </c:pt>
                <c:pt idx="1893">
                  <c:v>0.028625</c:v>
                </c:pt>
                <c:pt idx="1894">
                  <c:v>0.028625</c:v>
                </c:pt>
                <c:pt idx="1895">
                  <c:v>0.028625</c:v>
                </c:pt>
                <c:pt idx="1896">
                  <c:v>0.028625</c:v>
                </c:pt>
                <c:pt idx="1897">
                  <c:v>0.028625</c:v>
                </c:pt>
                <c:pt idx="1898">
                  <c:v>0.028625</c:v>
                </c:pt>
                <c:pt idx="1899">
                  <c:v>0.028625</c:v>
                </c:pt>
                <c:pt idx="1900">
                  <c:v>0.028625</c:v>
                </c:pt>
                <c:pt idx="1901">
                  <c:v>0.028625</c:v>
                </c:pt>
                <c:pt idx="1902">
                  <c:v>0.028625</c:v>
                </c:pt>
                <c:pt idx="1903">
                  <c:v>0.028625</c:v>
                </c:pt>
                <c:pt idx="1904">
                  <c:v>0.028625</c:v>
                </c:pt>
                <c:pt idx="1905">
                  <c:v>0.028625</c:v>
                </c:pt>
                <c:pt idx="1906">
                  <c:v>0.028625</c:v>
                </c:pt>
                <c:pt idx="1907">
                  <c:v>0.028625</c:v>
                </c:pt>
                <c:pt idx="1908">
                  <c:v>0.028625</c:v>
                </c:pt>
                <c:pt idx="1909">
                  <c:v>0.028625</c:v>
                </c:pt>
                <c:pt idx="1910">
                  <c:v>0.028625</c:v>
                </c:pt>
                <c:pt idx="1911">
                  <c:v>0.028625</c:v>
                </c:pt>
                <c:pt idx="1912">
                  <c:v>0.028625</c:v>
                </c:pt>
                <c:pt idx="1913">
                  <c:v>0.028625</c:v>
                </c:pt>
                <c:pt idx="1914">
                  <c:v>0.028625</c:v>
                </c:pt>
                <c:pt idx="1915">
                  <c:v>0.028625</c:v>
                </c:pt>
                <c:pt idx="1916">
                  <c:v>0.028625</c:v>
                </c:pt>
                <c:pt idx="1917">
                  <c:v>0.028625</c:v>
                </c:pt>
                <c:pt idx="1918">
                  <c:v>0.028625</c:v>
                </c:pt>
                <c:pt idx="1919">
                  <c:v>0.028625</c:v>
                </c:pt>
                <c:pt idx="1920">
                  <c:v>0.028625</c:v>
                </c:pt>
                <c:pt idx="1921">
                  <c:v>0.028625</c:v>
                </c:pt>
                <c:pt idx="1922">
                  <c:v>0.028625</c:v>
                </c:pt>
                <c:pt idx="1923">
                  <c:v>0.028625</c:v>
                </c:pt>
                <c:pt idx="1924">
                  <c:v>0.028625</c:v>
                </c:pt>
                <c:pt idx="1925">
                  <c:v>0.028625</c:v>
                </c:pt>
                <c:pt idx="1926">
                  <c:v>0.028625</c:v>
                </c:pt>
                <c:pt idx="1927">
                  <c:v>0.028625</c:v>
                </c:pt>
                <c:pt idx="1928">
                  <c:v>0.028625</c:v>
                </c:pt>
                <c:pt idx="1929">
                  <c:v>0.028625</c:v>
                </c:pt>
                <c:pt idx="1930">
                  <c:v>0.028625</c:v>
                </c:pt>
                <c:pt idx="1931">
                  <c:v>0.028625</c:v>
                </c:pt>
                <c:pt idx="1932">
                  <c:v>0.028625</c:v>
                </c:pt>
                <c:pt idx="1933">
                  <c:v>0.028625</c:v>
                </c:pt>
                <c:pt idx="1934">
                  <c:v>0.028625</c:v>
                </c:pt>
                <c:pt idx="1935">
                  <c:v>0.028625</c:v>
                </c:pt>
                <c:pt idx="1936">
                  <c:v>0.028625</c:v>
                </c:pt>
                <c:pt idx="1937">
                  <c:v>0.028625</c:v>
                </c:pt>
                <c:pt idx="1938">
                  <c:v>0.028625</c:v>
                </c:pt>
                <c:pt idx="1939">
                  <c:v>0.028625</c:v>
                </c:pt>
                <c:pt idx="1940">
                  <c:v>0.028625</c:v>
                </c:pt>
                <c:pt idx="1941">
                  <c:v>0.028625</c:v>
                </c:pt>
                <c:pt idx="1942">
                  <c:v>0.028625</c:v>
                </c:pt>
                <c:pt idx="1943">
                  <c:v>0.028625</c:v>
                </c:pt>
                <c:pt idx="1944">
                  <c:v>0.028625</c:v>
                </c:pt>
                <c:pt idx="1945">
                  <c:v>0.028625</c:v>
                </c:pt>
                <c:pt idx="1946">
                  <c:v>0.028625</c:v>
                </c:pt>
                <c:pt idx="1947">
                  <c:v>0.028625</c:v>
                </c:pt>
                <c:pt idx="1948">
                  <c:v>0.028625</c:v>
                </c:pt>
                <c:pt idx="1949">
                  <c:v>0.028625</c:v>
                </c:pt>
                <c:pt idx="1950">
                  <c:v>0.028625</c:v>
                </c:pt>
                <c:pt idx="1951">
                  <c:v>0.028625</c:v>
                </c:pt>
                <c:pt idx="1952">
                  <c:v>0.028625</c:v>
                </c:pt>
                <c:pt idx="1953">
                  <c:v>0.028625</c:v>
                </c:pt>
                <c:pt idx="1954">
                  <c:v>0.028625</c:v>
                </c:pt>
                <c:pt idx="1955">
                  <c:v>0.028625</c:v>
                </c:pt>
                <c:pt idx="1956">
                  <c:v>0.028625</c:v>
                </c:pt>
                <c:pt idx="1957">
                  <c:v>0.028625</c:v>
                </c:pt>
                <c:pt idx="1958">
                  <c:v>0.028625</c:v>
                </c:pt>
                <c:pt idx="1959">
                  <c:v>0.028625</c:v>
                </c:pt>
                <c:pt idx="1960">
                  <c:v>0.028625</c:v>
                </c:pt>
                <c:pt idx="1961">
                  <c:v>0.028625</c:v>
                </c:pt>
                <c:pt idx="1962">
                  <c:v>0.028625</c:v>
                </c:pt>
                <c:pt idx="1963">
                  <c:v>0.028625</c:v>
                </c:pt>
                <c:pt idx="1964">
                  <c:v>0.028625</c:v>
                </c:pt>
                <c:pt idx="1965">
                  <c:v>0.028625</c:v>
                </c:pt>
                <c:pt idx="1966">
                  <c:v>0.028625</c:v>
                </c:pt>
                <c:pt idx="1967">
                  <c:v>0.028625</c:v>
                </c:pt>
                <c:pt idx="1968">
                  <c:v>0.028625</c:v>
                </c:pt>
                <c:pt idx="1969">
                  <c:v>0.028625</c:v>
                </c:pt>
                <c:pt idx="1970">
                  <c:v>0.028625</c:v>
                </c:pt>
                <c:pt idx="1971">
                  <c:v>0.028625</c:v>
                </c:pt>
                <c:pt idx="1972">
                  <c:v>0.028625</c:v>
                </c:pt>
                <c:pt idx="1973">
                  <c:v>0.028625</c:v>
                </c:pt>
                <c:pt idx="1974">
                  <c:v>0.028625</c:v>
                </c:pt>
                <c:pt idx="1975">
                  <c:v>0.028625</c:v>
                </c:pt>
                <c:pt idx="1976">
                  <c:v>0.028625</c:v>
                </c:pt>
                <c:pt idx="1977">
                  <c:v>0.028625</c:v>
                </c:pt>
                <c:pt idx="1978">
                  <c:v>0.028625</c:v>
                </c:pt>
                <c:pt idx="1979">
                  <c:v>0.028625</c:v>
                </c:pt>
                <c:pt idx="1980">
                  <c:v>0.028625</c:v>
                </c:pt>
                <c:pt idx="1981">
                  <c:v>0.028625</c:v>
                </c:pt>
                <c:pt idx="1982">
                  <c:v>0.028625</c:v>
                </c:pt>
                <c:pt idx="1983">
                  <c:v>0.028625</c:v>
                </c:pt>
                <c:pt idx="1984">
                  <c:v>0.028625</c:v>
                </c:pt>
                <c:pt idx="1985">
                  <c:v>0.028625</c:v>
                </c:pt>
                <c:pt idx="1986">
                  <c:v>0.028625</c:v>
                </c:pt>
                <c:pt idx="1987">
                  <c:v>0.028625</c:v>
                </c:pt>
                <c:pt idx="1988">
                  <c:v>0.028625</c:v>
                </c:pt>
                <c:pt idx="1989">
                  <c:v>0.028625</c:v>
                </c:pt>
                <c:pt idx="1990">
                  <c:v>0.028625</c:v>
                </c:pt>
                <c:pt idx="1991">
                  <c:v>0.028625</c:v>
                </c:pt>
                <c:pt idx="1992">
                  <c:v>0.028625</c:v>
                </c:pt>
                <c:pt idx="1993">
                  <c:v>0.028625</c:v>
                </c:pt>
                <c:pt idx="1994">
                  <c:v>0.028625</c:v>
                </c:pt>
                <c:pt idx="1995">
                  <c:v>0.028625</c:v>
                </c:pt>
                <c:pt idx="1996">
                  <c:v>0.028625</c:v>
                </c:pt>
                <c:pt idx="1997">
                  <c:v>0.028625</c:v>
                </c:pt>
                <c:pt idx="1998">
                  <c:v>0.028625</c:v>
                </c:pt>
                <c:pt idx="1999">
                  <c:v>0.028625</c:v>
                </c:pt>
                <c:pt idx="2000">
                  <c:v>0.028625</c:v>
                </c:pt>
                <c:pt idx="2001">
                  <c:v>0.028625</c:v>
                </c:pt>
                <c:pt idx="2002">
                  <c:v>0.028625</c:v>
                </c:pt>
                <c:pt idx="2003">
                  <c:v>0.028625</c:v>
                </c:pt>
                <c:pt idx="2004">
                  <c:v>0.028625</c:v>
                </c:pt>
                <c:pt idx="2005">
                  <c:v>0.028625</c:v>
                </c:pt>
                <c:pt idx="2006">
                  <c:v>0.028625</c:v>
                </c:pt>
                <c:pt idx="2007">
                  <c:v>0.028625</c:v>
                </c:pt>
                <c:pt idx="2008">
                  <c:v>0.028625</c:v>
                </c:pt>
                <c:pt idx="2009">
                  <c:v>0.028625</c:v>
                </c:pt>
                <c:pt idx="2010">
                  <c:v>0.028625</c:v>
                </c:pt>
                <c:pt idx="2011">
                  <c:v>0.028625</c:v>
                </c:pt>
                <c:pt idx="2012">
                  <c:v>0.028625</c:v>
                </c:pt>
                <c:pt idx="2013">
                  <c:v>0.028625</c:v>
                </c:pt>
                <c:pt idx="2014">
                  <c:v>0.028625</c:v>
                </c:pt>
                <c:pt idx="2015">
                  <c:v>0.028625</c:v>
                </c:pt>
                <c:pt idx="2016">
                  <c:v>0.028625</c:v>
                </c:pt>
                <c:pt idx="2017">
                  <c:v>0.028625</c:v>
                </c:pt>
                <c:pt idx="2018">
                  <c:v>0.028625</c:v>
                </c:pt>
                <c:pt idx="2019">
                  <c:v>0.028625</c:v>
                </c:pt>
                <c:pt idx="2020">
                  <c:v>0.028625</c:v>
                </c:pt>
                <c:pt idx="2021">
                  <c:v>0.028625</c:v>
                </c:pt>
                <c:pt idx="2022">
                  <c:v>0.028625</c:v>
                </c:pt>
                <c:pt idx="2023">
                  <c:v>0.028625</c:v>
                </c:pt>
                <c:pt idx="2024">
                  <c:v>0.028625</c:v>
                </c:pt>
                <c:pt idx="2025">
                  <c:v>0.028625</c:v>
                </c:pt>
                <c:pt idx="2026">
                  <c:v>0.0190833333333333</c:v>
                </c:pt>
                <c:pt idx="2027">
                  <c:v>0.0190833333333333</c:v>
                </c:pt>
                <c:pt idx="2028">
                  <c:v>0.0190833333333333</c:v>
                </c:pt>
                <c:pt idx="2029">
                  <c:v>0.0190833333333333</c:v>
                </c:pt>
                <c:pt idx="2030">
                  <c:v>0.0190833333333333</c:v>
                </c:pt>
                <c:pt idx="2031">
                  <c:v>0.0190833333333333</c:v>
                </c:pt>
                <c:pt idx="2032">
                  <c:v>0.0190833333333333</c:v>
                </c:pt>
                <c:pt idx="2033">
                  <c:v>0.0190833333333333</c:v>
                </c:pt>
                <c:pt idx="2034">
                  <c:v>0.0190833333333333</c:v>
                </c:pt>
                <c:pt idx="2035">
                  <c:v>0.0190833333333333</c:v>
                </c:pt>
                <c:pt idx="2036">
                  <c:v>0.0190833333333333</c:v>
                </c:pt>
                <c:pt idx="2037">
                  <c:v>0.0190833333333333</c:v>
                </c:pt>
                <c:pt idx="2038">
                  <c:v>0.0190833333333333</c:v>
                </c:pt>
                <c:pt idx="2039">
                  <c:v>0.0190833333333333</c:v>
                </c:pt>
                <c:pt idx="2040">
                  <c:v>0.0190833333333333</c:v>
                </c:pt>
                <c:pt idx="2041">
                  <c:v>0.0190833333333333</c:v>
                </c:pt>
                <c:pt idx="2042">
                  <c:v>0.0190833333333333</c:v>
                </c:pt>
                <c:pt idx="2043">
                  <c:v>0.0190833333333333</c:v>
                </c:pt>
                <c:pt idx="2044">
                  <c:v>0.0190833333333333</c:v>
                </c:pt>
                <c:pt idx="2045">
                  <c:v>0.0190833333333333</c:v>
                </c:pt>
                <c:pt idx="2046">
                  <c:v>0.0190833333333333</c:v>
                </c:pt>
                <c:pt idx="2047">
                  <c:v>0.0190833333333333</c:v>
                </c:pt>
                <c:pt idx="2048">
                  <c:v>0.0190833333333333</c:v>
                </c:pt>
                <c:pt idx="2049">
                  <c:v>0.0190833333333333</c:v>
                </c:pt>
                <c:pt idx="2050">
                  <c:v>0.0190833333333333</c:v>
                </c:pt>
                <c:pt idx="2051">
                  <c:v>0.0190833333333333</c:v>
                </c:pt>
                <c:pt idx="2052">
                  <c:v>0.0190833333333333</c:v>
                </c:pt>
                <c:pt idx="2053">
                  <c:v>0.0190833333333333</c:v>
                </c:pt>
                <c:pt idx="2054">
                  <c:v>0.0190833333333333</c:v>
                </c:pt>
                <c:pt idx="2055">
                  <c:v>0.0190833333333333</c:v>
                </c:pt>
                <c:pt idx="2056">
                  <c:v>0.0190833333333333</c:v>
                </c:pt>
                <c:pt idx="2057">
                  <c:v>0.0190833333333333</c:v>
                </c:pt>
                <c:pt idx="2058">
                  <c:v>0.0190833333333333</c:v>
                </c:pt>
                <c:pt idx="2059">
                  <c:v>0.0190833333333333</c:v>
                </c:pt>
                <c:pt idx="2060">
                  <c:v>0.0190833333333333</c:v>
                </c:pt>
                <c:pt idx="2061">
                  <c:v>0.0190833333333333</c:v>
                </c:pt>
                <c:pt idx="2062">
                  <c:v>0.0190833333333333</c:v>
                </c:pt>
                <c:pt idx="2063">
                  <c:v>0.0190833333333333</c:v>
                </c:pt>
                <c:pt idx="2064">
                  <c:v>0.0190833333333333</c:v>
                </c:pt>
                <c:pt idx="2065">
                  <c:v>0.0190833333333333</c:v>
                </c:pt>
                <c:pt idx="2066">
                  <c:v>0.0190833333333333</c:v>
                </c:pt>
                <c:pt idx="2067">
                  <c:v>0.0190833333333333</c:v>
                </c:pt>
                <c:pt idx="2068">
                  <c:v>0.0190833333333333</c:v>
                </c:pt>
                <c:pt idx="2069">
                  <c:v>0.0190833333333333</c:v>
                </c:pt>
                <c:pt idx="2070">
                  <c:v>0.0190833333333333</c:v>
                </c:pt>
                <c:pt idx="2071">
                  <c:v>0.0190833333333333</c:v>
                </c:pt>
                <c:pt idx="2072">
                  <c:v>0.0190833333333333</c:v>
                </c:pt>
                <c:pt idx="2073">
                  <c:v>0.0190833333333333</c:v>
                </c:pt>
                <c:pt idx="2074">
                  <c:v>0.0190833333333333</c:v>
                </c:pt>
                <c:pt idx="2075">
                  <c:v>0.0190833333333333</c:v>
                </c:pt>
                <c:pt idx="2076">
                  <c:v>0.0190833333333333</c:v>
                </c:pt>
                <c:pt idx="2077">
                  <c:v>0.0190833333333333</c:v>
                </c:pt>
                <c:pt idx="2078">
                  <c:v>0.0190833333333333</c:v>
                </c:pt>
                <c:pt idx="2079">
                  <c:v>0.0190833333333333</c:v>
                </c:pt>
                <c:pt idx="2080">
                  <c:v>0.0190833333333333</c:v>
                </c:pt>
                <c:pt idx="2081">
                  <c:v>0.0190833333333333</c:v>
                </c:pt>
                <c:pt idx="2082">
                  <c:v>0.0190833333333333</c:v>
                </c:pt>
                <c:pt idx="2083">
                  <c:v>0.0190833333333333</c:v>
                </c:pt>
                <c:pt idx="2084">
                  <c:v>0.0190833333333333</c:v>
                </c:pt>
                <c:pt idx="2085">
                  <c:v>0.0190833333333333</c:v>
                </c:pt>
                <c:pt idx="2086">
                  <c:v>0.0190833333333333</c:v>
                </c:pt>
                <c:pt idx="2087">
                  <c:v>0.0190833333333333</c:v>
                </c:pt>
                <c:pt idx="2088">
                  <c:v>0.0190833333333333</c:v>
                </c:pt>
                <c:pt idx="2089">
                  <c:v>0.0190833333333333</c:v>
                </c:pt>
                <c:pt idx="2090">
                  <c:v>0.0190833333333333</c:v>
                </c:pt>
                <c:pt idx="2091">
                  <c:v>0.0190833333333333</c:v>
                </c:pt>
                <c:pt idx="2092">
                  <c:v>0.0190833333333333</c:v>
                </c:pt>
                <c:pt idx="2093">
                  <c:v>0.0190833333333333</c:v>
                </c:pt>
                <c:pt idx="2094">
                  <c:v>0.0190833333333333</c:v>
                </c:pt>
                <c:pt idx="2095">
                  <c:v>0.0190833333333333</c:v>
                </c:pt>
                <c:pt idx="2096">
                  <c:v>0.0190833333333333</c:v>
                </c:pt>
                <c:pt idx="2097">
                  <c:v>0.0190833333333333</c:v>
                </c:pt>
                <c:pt idx="2098">
                  <c:v>0.0190833333333333</c:v>
                </c:pt>
                <c:pt idx="2099">
                  <c:v>0.0190833333333333</c:v>
                </c:pt>
                <c:pt idx="2100">
                  <c:v>0.0190833333333333</c:v>
                </c:pt>
                <c:pt idx="2101">
                  <c:v>0.0190833333333333</c:v>
                </c:pt>
                <c:pt idx="2102">
                  <c:v>0.0190833333333333</c:v>
                </c:pt>
                <c:pt idx="2103">
                  <c:v>0.0190833333333333</c:v>
                </c:pt>
                <c:pt idx="2104">
                  <c:v>0.0190833333333333</c:v>
                </c:pt>
                <c:pt idx="2105">
                  <c:v>0.0190833333333333</c:v>
                </c:pt>
                <c:pt idx="2106">
                  <c:v>0.0190833333333333</c:v>
                </c:pt>
                <c:pt idx="2107">
                  <c:v>0.0190833333333333</c:v>
                </c:pt>
                <c:pt idx="2108">
                  <c:v>0.0190833333333333</c:v>
                </c:pt>
                <c:pt idx="2109">
                  <c:v>0.0190833333333333</c:v>
                </c:pt>
                <c:pt idx="2110">
                  <c:v>0.0190833333333333</c:v>
                </c:pt>
                <c:pt idx="2111">
                  <c:v>0.0190833333333333</c:v>
                </c:pt>
                <c:pt idx="2112">
                  <c:v>0.0190833333333333</c:v>
                </c:pt>
                <c:pt idx="2113">
                  <c:v>0.0190833333333333</c:v>
                </c:pt>
                <c:pt idx="2114">
                  <c:v>0.0190833333333333</c:v>
                </c:pt>
                <c:pt idx="2115">
                  <c:v>0.0190833333333333</c:v>
                </c:pt>
                <c:pt idx="2116">
                  <c:v>0.0190833333333333</c:v>
                </c:pt>
                <c:pt idx="2117">
                  <c:v>0.0190833333333333</c:v>
                </c:pt>
                <c:pt idx="2118">
                  <c:v>0.0190833333333333</c:v>
                </c:pt>
                <c:pt idx="2119">
                  <c:v>0.0190833333333333</c:v>
                </c:pt>
                <c:pt idx="2120">
                  <c:v>0.0190833333333333</c:v>
                </c:pt>
                <c:pt idx="2121">
                  <c:v>0.0190833333333333</c:v>
                </c:pt>
                <c:pt idx="2122">
                  <c:v>0.0190833333333333</c:v>
                </c:pt>
                <c:pt idx="2123">
                  <c:v>0.0190833333333333</c:v>
                </c:pt>
                <c:pt idx="2124">
                  <c:v>0.0190833333333333</c:v>
                </c:pt>
                <c:pt idx="2125">
                  <c:v>0.0190833333333333</c:v>
                </c:pt>
                <c:pt idx="2126">
                  <c:v>0.0190833333333333</c:v>
                </c:pt>
                <c:pt idx="2127">
                  <c:v>0.0190833333333333</c:v>
                </c:pt>
                <c:pt idx="2128">
                  <c:v>0.0190833333333333</c:v>
                </c:pt>
                <c:pt idx="2129">
                  <c:v>0.0190833333333333</c:v>
                </c:pt>
                <c:pt idx="2130">
                  <c:v>0.0190833333333333</c:v>
                </c:pt>
                <c:pt idx="2131">
                  <c:v>0.0190833333333333</c:v>
                </c:pt>
                <c:pt idx="2132">
                  <c:v>0.0190833333333333</c:v>
                </c:pt>
                <c:pt idx="2133">
                  <c:v>0.0190833333333333</c:v>
                </c:pt>
                <c:pt idx="2134">
                  <c:v>0.0190833333333333</c:v>
                </c:pt>
                <c:pt idx="2135">
                  <c:v>0.0190833333333333</c:v>
                </c:pt>
                <c:pt idx="2136">
                  <c:v>0.0190833333333333</c:v>
                </c:pt>
                <c:pt idx="2137">
                  <c:v>0.0190833333333333</c:v>
                </c:pt>
                <c:pt idx="2138">
                  <c:v>0.0190833333333333</c:v>
                </c:pt>
                <c:pt idx="2139">
                  <c:v>0.0190833333333333</c:v>
                </c:pt>
                <c:pt idx="2140">
                  <c:v>0.0190833333333333</c:v>
                </c:pt>
                <c:pt idx="2141">
                  <c:v>0.0190833333333333</c:v>
                </c:pt>
                <c:pt idx="2142">
                  <c:v>0.0190833333333333</c:v>
                </c:pt>
                <c:pt idx="2143">
                  <c:v>0.0190833333333333</c:v>
                </c:pt>
                <c:pt idx="2144">
                  <c:v>0.0190833333333333</c:v>
                </c:pt>
                <c:pt idx="2145">
                  <c:v>0.0190833333333333</c:v>
                </c:pt>
                <c:pt idx="2146">
                  <c:v>0.0190833333333333</c:v>
                </c:pt>
                <c:pt idx="2147">
                  <c:v>0.0190833333333333</c:v>
                </c:pt>
                <c:pt idx="2148">
                  <c:v>0.0190833333333333</c:v>
                </c:pt>
                <c:pt idx="2149">
                  <c:v>0.0190833333333333</c:v>
                </c:pt>
                <c:pt idx="2150">
                  <c:v>0.0190833333333333</c:v>
                </c:pt>
                <c:pt idx="2151">
                  <c:v>0.0190833333333333</c:v>
                </c:pt>
                <c:pt idx="2152">
                  <c:v>0.0190833333333333</c:v>
                </c:pt>
                <c:pt idx="2153">
                  <c:v>0.0190833333333333</c:v>
                </c:pt>
                <c:pt idx="2154">
                  <c:v>0.0190833333333333</c:v>
                </c:pt>
                <c:pt idx="2155">
                  <c:v>0.0190833333333333</c:v>
                </c:pt>
                <c:pt idx="2156">
                  <c:v>0.0190833333333333</c:v>
                </c:pt>
                <c:pt idx="2157">
                  <c:v>0.0190833333333333</c:v>
                </c:pt>
                <c:pt idx="2158">
                  <c:v>0.0190833333333333</c:v>
                </c:pt>
                <c:pt idx="2159">
                  <c:v>0.0190833333333333</c:v>
                </c:pt>
                <c:pt idx="2160">
                  <c:v>0.0190833333333333</c:v>
                </c:pt>
                <c:pt idx="2161">
                  <c:v>0.0190833333333333</c:v>
                </c:pt>
                <c:pt idx="2162">
                  <c:v>0.0190833333333333</c:v>
                </c:pt>
                <c:pt idx="2163">
                  <c:v>0.0190833333333333</c:v>
                </c:pt>
                <c:pt idx="2164">
                  <c:v>0.0190833333333333</c:v>
                </c:pt>
                <c:pt idx="2165">
                  <c:v>0.0190833333333333</c:v>
                </c:pt>
                <c:pt idx="2166">
                  <c:v>0.0190833333333333</c:v>
                </c:pt>
                <c:pt idx="2167">
                  <c:v>0.0190833333333333</c:v>
                </c:pt>
                <c:pt idx="2168">
                  <c:v>0.0190833333333333</c:v>
                </c:pt>
                <c:pt idx="2169">
                  <c:v>0.0190833333333333</c:v>
                </c:pt>
                <c:pt idx="2170">
                  <c:v>0.0190833333333333</c:v>
                </c:pt>
                <c:pt idx="2171">
                  <c:v>0.0190833333333333</c:v>
                </c:pt>
                <c:pt idx="2172">
                  <c:v>0.0190833333333333</c:v>
                </c:pt>
                <c:pt idx="2173">
                  <c:v>0.0190833333333333</c:v>
                </c:pt>
                <c:pt idx="2174">
                  <c:v>0.0190833333333333</c:v>
                </c:pt>
                <c:pt idx="2175">
                  <c:v>0.0190833333333333</c:v>
                </c:pt>
                <c:pt idx="2176">
                  <c:v>0.0190833333333333</c:v>
                </c:pt>
                <c:pt idx="2177">
                  <c:v>0.0190833333333333</c:v>
                </c:pt>
                <c:pt idx="2178">
                  <c:v>0.0190833333333333</c:v>
                </c:pt>
                <c:pt idx="2179">
                  <c:v>0.0190833333333333</c:v>
                </c:pt>
                <c:pt idx="2180">
                  <c:v>0.0190833333333333</c:v>
                </c:pt>
                <c:pt idx="2181">
                  <c:v>0.0190833333333333</c:v>
                </c:pt>
                <c:pt idx="2182">
                  <c:v>0.0190833333333333</c:v>
                </c:pt>
                <c:pt idx="2183">
                  <c:v>0.0190833333333333</c:v>
                </c:pt>
                <c:pt idx="2184">
                  <c:v>0.0190833333333333</c:v>
                </c:pt>
                <c:pt idx="2185">
                  <c:v>0.0190833333333333</c:v>
                </c:pt>
                <c:pt idx="2186">
                  <c:v>0.0190833333333333</c:v>
                </c:pt>
                <c:pt idx="2187">
                  <c:v>0.0190833333333333</c:v>
                </c:pt>
                <c:pt idx="2188">
                  <c:v>0.0190833333333333</c:v>
                </c:pt>
                <c:pt idx="2189">
                  <c:v>0.0190833333333333</c:v>
                </c:pt>
                <c:pt idx="2190">
                  <c:v>0.0190833333333333</c:v>
                </c:pt>
                <c:pt idx="2191">
                  <c:v>0.0190833333333333</c:v>
                </c:pt>
                <c:pt idx="2192">
                  <c:v>0.0190833333333333</c:v>
                </c:pt>
                <c:pt idx="2193">
                  <c:v>0.0190833333333333</c:v>
                </c:pt>
                <c:pt idx="2194">
                  <c:v>0.0190833333333333</c:v>
                </c:pt>
                <c:pt idx="2195">
                  <c:v>0.0190833333333333</c:v>
                </c:pt>
                <c:pt idx="2196">
                  <c:v>0.0190833333333333</c:v>
                </c:pt>
                <c:pt idx="2197">
                  <c:v>0.0190833333333333</c:v>
                </c:pt>
                <c:pt idx="2198">
                  <c:v>0.0190833333333333</c:v>
                </c:pt>
                <c:pt idx="2199">
                  <c:v>0.0190833333333333</c:v>
                </c:pt>
                <c:pt idx="2200">
                  <c:v>0.0190833333333333</c:v>
                </c:pt>
                <c:pt idx="2201">
                  <c:v>0.0190833333333333</c:v>
                </c:pt>
                <c:pt idx="2202">
                  <c:v>0.0190833333333333</c:v>
                </c:pt>
                <c:pt idx="2203">
                  <c:v>0.0190833333333333</c:v>
                </c:pt>
                <c:pt idx="2204">
                  <c:v>0.0190833333333333</c:v>
                </c:pt>
                <c:pt idx="2205">
                  <c:v>0.0190833333333333</c:v>
                </c:pt>
                <c:pt idx="2206">
                  <c:v>0.0190833333333333</c:v>
                </c:pt>
                <c:pt idx="2207">
                  <c:v>0.0190833333333333</c:v>
                </c:pt>
                <c:pt idx="2208">
                  <c:v>0.0190833333333333</c:v>
                </c:pt>
                <c:pt idx="2209">
                  <c:v>0.0190833333333333</c:v>
                </c:pt>
                <c:pt idx="2210">
                  <c:v>0.0190833333333333</c:v>
                </c:pt>
                <c:pt idx="2211">
                  <c:v>0.0190833333333333</c:v>
                </c:pt>
                <c:pt idx="2212">
                  <c:v>0.0190833333333333</c:v>
                </c:pt>
                <c:pt idx="2213">
                  <c:v>0.0190833333333333</c:v>
                </c:pt>
                <c:pt idx="2214">
                  <c:v>0.0190833333333333</c:v>
                </c:pt>
                <c:pt idx="2215">
                  <c:v>0.0190833333333333</c:v>
                </c:pt>
                <c:pt idx="2216">
                  <c:v>0.0190833333333333</c:v>
                </c:pt>
                <c:pt idx="2217">
                  <c:v>0.0190833333333333</c:v>
                </c:pt>
                <c:pt idx="2218">
                  <c:v>0.0190833333333333</c:v>
                </c:pt>
                <c:pt idx="2219">
                  <c:v>0.0190833333333333</c:v>
                </c:pt>
                <c:pt idx="2220">
                  <c:v>0.0190833333333333</c:v>
                </c:pt>
                <c:pt idx="2221">
                  <c:v>0.0190833333333333</c:v>
                </c:pt>
                <c:pt idx="2222">
                  <c:v>0.0190833333333333</c:v>
                </c:pt>
                <c:pt idx="2223">
                  <c:v>0.0190833333333333</c:v>
                </c:pt>
                <c:pt idx="2224">
                  <c:v>0.0190833333333333</c:v>
                </c:pt>
                <c:pt idx="2225">
                  <c:v>0.0190833333333333</c:v>
                </c:pt>
                <c:pt idx="2226">
                  <c:v>0.0190833333333333</c:v>
                </c:pt>
                <c:pt idx="2227">
                  <c:v>0.0190833333333333</c:v>
                </c:pt>
                <c:pt idx="2228">
                  <c:v>0.0190833333333333</c:v>
                </c:pt>
                <c:pt idx="2229">
                  <c:v>0.0190833333333333</c:v>
                </c:pt>
                <c:pt idx="2230">
                  <c:v>0.0190833333333333</c:v>
                </c:pt>
                <c:pt idx="2231">
                  <c:v>0.0190833333333333</c:v>
                </c:pt>
                <c:pt idx="2232">
                  <c:v>0.0190833333333333</c:v>
                </c:pt>
                <c:pt idx="2233">
                  <c:v>0.0190833333333333</c:v>
                </c:pt>
                <c:pt idx="2234">
                  <c:v>0.0190833333333333</c:v>
                </c:pt>
                <c:pt idx="2235">
                  <c:v>0.0190833333333333</c:v>
                </c:pt>
                <c:pt idx="2236">
                  <c:v>0.0190833333333333</c:v>
                </c:pt>
                <c:pt idx="2237">
                  <c:v>0.0190833333333333</c:v>
                </c:pt>
                <c:pt idx="2238">
                  <c:v>0.0190833333333333</c:v>
                </c:pt>
                <c:pt idx="2239">
                  <c:v>0.0190833333333333</c:v>
                </c:pt>
                <c:pt idx="2240">
                  <c:v>0.0190833333333333</c:v>
                </c:pt>
                <c:pt idx="2241">
                  <c:v>0.0190833333333333</c:v>
                </c:pt>
                <c:pt idx="2242">
                  <c:v>0.0190833333333333</c:v>
                </c:pt>
                <c:pt idx="2243">
                  <c:v>0.0190833333333333</c:v>
                </c:pt>
                <c:pt idx="2244">
                  <c:v>0.0190833333333333</c:v>
                </c:pt>
                <c:pt idx="2245">
                  <c:v>0.0190833333333333</c:v>
                </c:pt>
                <c:pt idx="2246">
                  <c:v>0.0190833333333333</c:v>
                </c:pt>
                <c:pt idx="2247">
                  <c:v>0.0190833333333333</c:v>
                </c:pt>
                <c:pt idx="2248">
                  <c:v>0.0190833333333333</c:v>
                </c:pt>
                <c:pt idx="2249">
                  <c:v>0.0190833333333333</c:v>
                </c:pt>
                <c:pt idx="2250">
                  <c:v>0.0190833333333333</c:v>
                </c:pt>
                <c:pt idx="2251">
                  <c:v>0.0190833333333333</c:v>
                </c:pt>
                <c:pt idx="2252">
                  <c:v>0.0190833333333333</c:v>
                </c:pt>
                <c:pt idx="2253">
                  <c:v>0.0190833333333333</c:v>
                </c:pt>
                <c:pt idx="2254">
                  <c:v>0.0190833333333333</c:v>
                </c:pt>
                <c:pt idx="2255">
                  <c:v>0.0190833333333333</c:v>
                </c:pt>
                <c:pt idx="2256">
                  <c:v>0.0190833333333333</c:v>
                </c:pt>
                <c:pt idx="2257">
                  <c:v>0.0190833333333333</c:v>
                </c:pt>
                <c:pt idx="2258">
                  <c:v>0.0190833333333333</c:v>
                </c:pt>
                <c:pt idx="2259">
                  <c:v>0.0190833333333333</c:v>
                </c:pt>
                <c:pt idx="2260">
                  <c:v>0.0190833333333333</c:v>
                </c:pt>
                <c:pt idx="2261">
                  <c:v>0.0190833333333333</c:v>
                </c:pt>
                <c:pt idx="2262">
                  <c:v>0.0190833333333333</c:v>
                </c:pt>
                <c:pt idx="2263">
                  <c:v>0.0190833333333333</c:v>
                </c:pt>
                <c:pt idx="2264">
                  <c:v>0.0190833333333333</c:v>
                </c:pt>
                <c:pt idx="2265">
                  <c:v>0.0190833333333333</c:v>
                </c:pt>
                <c:pt idx="2266">
                  <c:v>0.0190833333333333</c:v>
                </c:pt>
                <c:pt idx="2267">
                  <c:v>0.0190833333333333</c:v>
                </c:pt>
                <c:pt idx="2268">
                  <c:v>0.0190833333333333</c:v>
                </c:pt>
                <c:pt idx="2269">
                  <c:v>0.0190833333333333</c:v>
                </c:pt>
                <c:pt idx="2270">
                  <c:v>0.0190833333333333</c:v>
                </c:pt>
                <c:pt idx="2271">
                  <c:v>0.0190833333333333</c:v>
                </c:pt>
                <c:pt idx="2272">
                  <c:v>0.0190833333333333</c:v>
                </c:pt>
                <c:pt idx="2273">
                  <c:v>0.0190833333333333</c:v>
                </c:pt>
                <c:pt idx="2274">
                  <c:v>0.0190833333333333</c:v>
                </c:pt>
                <c:pt idx="2275">
                  <c:v>0.0190833333333333</c:v>
                </c:pt>
                <c:pt idx="2276">
                  <c:v>0.0190833333333333</c:v>
                </c:pt>
                <c:pt idx="2277">
                  <c:v>0.0190833333333333</c:v>
                </c:pt>
                <c:pt idx="2278">
                  <c:v>0.0190833333333333</c:v>
                </c:pt>
                <c:pt idx="2279">
                  <c:v>0.0190833333333333</c:v>
                </c:pt>
                <c:pt idx="2280">
                  <c:v>0.0190833333333333</c:v>
                </c:pt>
                <c:pt idx="2281">
                  <c:v>0.0190833333333333</c:v>
                </c:pt>
                <c:pt idx="2282">
                  <c:v>0.0190833333333333</c:v>
                </c:pt>
                <c:pt idx="2283">
                  <c:v>0.0190833333333333</c:v>
                </c:pt>
                <c:pt idx="2284">
                  <c:v>0.0190833333333333</c:v>
                </c:pt>
                <c:pt idx="2285">
                  <c:v>0.0190833333333333</c:v>
                </c:pt>
                <c:pt idx="2286">
                  <c:v>0.0190833333333333</c:v>
                </c:pt>
                <c:pt idx="2287">
                  <c:v>0.0190833333333333</c:v>
                </c:pt>
                <c:pt idx="2288">
                  <c:v>0.0190833333333333</c:v>
                </c:pt>
                <c:pt idx="2289">
                  <c:v>0.0190833333333333</c:v>
                </c:pt>
                <c:pt idx="2290">
                  <c:v>0.0190833333333333</c:v>
                </c:pt>
                <c:pt idx="2291">
                  <c:v>0.0190833333333333</c:v>
                </c:pt>
                <c:pt idx="2292">
                  <c:v>0.0190833333333333</c:v>
                </c:pt>
                <c:pt idx="2293">
                  <c:v>0.0190833333333333</c:v>
                </c:pt>
                <c:pt idx="2294">
                  <c:v>0.0190833333333333</c:v>
                </c:pt>
                <c:pt idx="2295">
                  <c:v>0.0190833333333333</c:v>
                </c:pt>
                <c:pt idx="2296">
                  <c:v>0.0190833333333333</c:v>
                </c:pt>
                <c:pt idx="2297">
                  <c:v>0.0190833333333333</c:v>
                </c:pt>
                <c:pt idx="2298">
                  <c:v>0.0190833333333333</c:v>
                </c:pt>
                <c:pt idx="2299">
                  <c:v>0.0190833333333333</c:v>
                </c:pt>
                <c:pt idx="2300">
                  <c:v>0.0190833333333333</c:v>
                </c:pt>
                <c:pt idx="2301">
                  <c:v>0.0190833333333333</c:v>
                </c:pt>
                <c:pt idx="2302">
                  <c:v>0.0190833333333333</c:v>
                </c:pt>
                <c:pt idx="2303">
                  <c:v>0.0190833333333333</c:v>
                </c:pt>
                <c:pt idx="2304">
                  <c:v>0.0190833333333333</c:v>
                </c:pt>
                <c:pt idx="2305">
                  <c:v>0.00954166666666667</c:v>
                </c:pt>
                <c:pt idx="2306">
                  <c:v>0.00954166666666667</c:v>
                </c:pt>
                <c:pt idx="2307">
                  <c:v>0.00954166666666667</c:v>
                </c:pt>
                <c:pt idx="2308">
                  <c:v>0.00954166666666667</c:v>
                </c:pt>
                <c:pt idx="2309">
                  <c:v>0.00954166666666667</c:v>
                </c:pt>
                <c:pt idx="2310">
                  <c:v>0.00954166666666667</c:v>
                </c:pt>
                <c:pt idx="2311">
                  <c:v>0.00954166666666667</c:v>
                </c:pt>
                <c:pt idx="2312">
                  <c:v>0.00954166666666667</c:v>
                </c:pt>
                <c:pt idx="2313">
                  <c:v>0.00954166666666667</c:v>
                </c:pt>
                <c:pt idx="2314">
                  <c:v>0.00954166666666667</c:v>
                </c:pt>
                <c:pt idx="2315">
                  <c:v>0.00954166666666667</c:v>
                </c:pt>
                <c:pt idx="2316">
                  <c:v>0.00954166666666667</c:v>
                </c:pt>
                <c:pt idx="2317">
                  <c:v>0.00954166666666667</c:v>
                </c:pt>
                <c:pt idx="2318">
                  <c:v>0.00954166666666667</c:v>
                </c:pt>
                <c:pt idx="2319">
                  <c:v>0.00954166666666667</c:v>
                </c:pt>
                <c:pt idx="2320">
                  <c:v>0.00954166666666667</c:v>
                </c:pt>
                <c:pt idx="2321">
                  <c:v>0.00954166666666667</c:v>
                </c:pt>
                <c:pt idx="2322">
                  <c:v>0.00954166666666667</c:v>
                </c:pt>
                <c:pt idx="2323">
                  <c:v>0.00954166666666667</c:v>
                </c:pt>
                <c:pt idx="2324">
                  <c:v>0.00954166666666667</c:v>
                </c:pt>
                <c:pt idx="2325">
                  <c:v>0.00954166666666667</c:v>
                </c:pt>
                <c:pt idx="2326">
                  <c:v>0.00954166666666667</c:v>
                </c:pt>
                <c:pt idx="2327">
                  <c:v>0.00954166666666667</c:v>
                </c:pt>
                <c:pt idx="2328">
                  <c:v>0.00954166666666667</c:v>
                </c:pt>
                <c:pt idx="2329">
                  <c:v>0.00954166666666667</c:v>
                </c:pt>
                <c:pt idx="2330">
                  <c:v>0.00954166666666667</c:v>
                </c:pt>
                <c:pt idx="2331">
                  <c:v>0.00954166666666667</c:v>
                </c:pt>
                <c:pt idx="2332">
                  <c:v>0.00954166666666667</c:v>
                </c:pt>
                <c:pt idx="2333">
                  <c:v>0.00954166666666667</c:v>
                </c:pt>
                <c:pt idx="2334">
                  <c:v>0.00954166666666667</c:v>
                </c:pt>
                <c:pt idx="2335">
                  <c:v>0.00954166666666667</c:v>
                </c:pt>
                <c:pt idx="2336">
                  <c:v>0.00954166666666667</c:v>
                </c:pt>
                <c:pt idx="2337">
                  <c:v>0.00954166666666667</c:v>
                </c:pt>
                <c:pt idx="2338">
                  <c:v>0.00954166666666667</c:v>
                </c:pt>
                <c:pt idx="2339">
                  <c:v>0.00954166666666667</c:v>
                </c:pt>
                <c:pt idx="2340">
                  <c:v>0.00954166666666667</c:v>
                </c:pt>
                <c:pt idx="2341">
                  <c:v>0.00954166666666667</c:v>
                </c:pt>
                <c:pt idx="2342">
                  <c:v>0.00954166666666667</c:v>
                </c:pt>
                <c:pt idx="2343">
                  <c:v>0.00954166666666667</c:v>
                </c:pt>
                <c:pt idx="2344">
                  <c:v>0.00954166666666667</c:v>
                </c:pt>
                <c:pt idx="2345">
                  <c:v>0.00954166666666667</c:v>
                </c:pt>
                <c:pt idx="2346">
                  <c:v>0.00954166666666667</c:v>
                </c:pt>
                <c:pt idx="2347">
                  <c:v>0.00954166666666667</c:v>
                </c:pt>
                <c:pt idx="2348">
                  <c:v>0.00954166666666667</c:v>
                </c:pt>
                <c:pt idx="2349">
                  <c:v>0.00954166666666667</c:v>
                </c:pt>
                <c:pt idx="2350">
                  <c:v>0.00954166666666667</c:v>
                </c:pt>
                <c:pt idx="2351">
                  <c:v>0.00954166666666667</c:v>
                </c:pt>
                <c:pt idx="2352">
                  <c:v>0.00954166666666667</c:v>
                </c:pt>
                <c:pt idx="2353">
                  <c:v>0.00954166666666667</c:v>
                </c:pt>
                <c:pt idx="2354">
                  <c:v>0.00954166666666667</c:v>
                </c:pt>
                <c:pt idx="2355">
                  <c:v>0.00954166666666667</c:v>
                </c:pt>
                <c:pt idx="2356">
                  <c:v>0.00954166666666667</c:v>
                </c:pt>
                <c:pt idx="2357">
                  <c:v>0.00954166666666667</c:v>
                </c:pt>
                <c:pt idx="2358">
                  <c:v>0.00954166666666667</c:v>
                </c:pt>
                <c:pt idx="2359">
                  <c:v>0.00954166666666667</c:v>
                </c:pt>
                <c:pt idx="2360">
                  <c:v>0.00954166666666667</c:v>
                </c:pt>
                <c:pt idx="2361">
                  <c:v>0.00954166666666667</c:v>
                </c:pt>
                <c:pt idx="2362">
                  <c:v>0.00954166666666667</c:v>
                </c:pt>
                <c:pt idx="2363">
                  <c:v>0.00954166666666667</c:v>
                </c:pt>
                <c:pt idx="2364">
                  <c:v>0.00954166666666667</c:v>
                </c:pt>
                <c:pt idx="2365">
                  <c:v>0.00954166666666667</c:v>
                </c:pt>
                <c:pt idx="2366">
                  <c:v>0.00954166666666667</c:v>
                </c:pt>
                <c:pt idx="2367">
                  <c:v>0.00954166666666667</c:v>
                </c:pt>
                <c:pt idx="2368">
                  <c:v>0.00954166666666667</c:v>
                </c:pt>
                <c:pt idx="2369">
                  <c:v>0.00954166666666667</c:v>
                </c:pt>
                <c:pt idx="2370">
                  <c:v>0.00954166666666667</c:v>
                </c:pt>
                <c:pt idx="2371">
                  <c:v>0.00954166666666667</c:v>
                </c:pt>
                <c:pt idx="2372">
                  <c:v>0.00954166666666667</c:v>
                </c:pt>
                <c:pt idx="2373">
                  <c:v>0.00954166666666667</c:v>
                </c:pt>
                <c:pt idx="2374">
                  <c:v>0.00954166666666667</c:v>
                </c:pt>
                <c:pt idx="2375">
                  <c:v>0.00954166666666667</c:v>
                </c:pt>
                <c:pt idx="2376">
                  <c:v>0.00954166666666667</c:v>
                </c:pt>
                <c:pt idx="2377">
                  <c:v>0.00954166666666667</c:v>
                </c:pt>
                <c:pt idx="2378">
                  <c:v>0.00954166666666667</c:v>
                </c:pt>
                <c:pt idx="2379">
                  <c:v>0.00954166666666667</c:v>
                </c:pt>
                <c:pt idx="2380">
                  <c:v>0.00954166666666667</c:v>
                </c:pt>
                <c:pt idx="2381">
                  <c:v>0.00954166666666667</c:v>
                </c:pt>
                <c:pt idx="2382">
                  <c:v>0.00954166666666667</c:v>
                </c:pt>
                <c:pt idx="2383">
                  <c:v>0.00954166666666667</c:v>
                </c:pt>
                <c:pt idx="2384">
                  <c:v>0.00954166666666667</c:v>
                </c:pt>
                <c:pt idx="2385">
                  <c:v>0.00954166666666667</c:v>
                </c:pt>
                <c:pt idx="2386">
                  <c:v>0.00954166666666667</c:v>
                </c:pt>
                <c:pt idx="2387">
                  <c:v>0.00954166666666667</c:v>
                </c:pt>
                <c:pt idx="2388">
                  <c:v>0.00954166666666667</c:v>
                </c:pt>
                <c:pt idx="2389">
                  <c:v>0.00954166666666667</c:v>
                </c:pt>
                <c:pt idx="2390">
                  <c:v>0.00954166666666667</c:v>
                </c:pt>
                <c:pt idx="2391">
                  <c:v>0.00954166666666667</c:v>
                </c:pt>
                <c:pt idx="2392">
                  <c:v>0.00954166666666667</c:v>
                </c:pt>
                <c:pt idx="2393">
                  <c:v>0.00954166666666667</c:v>
                </c:pt>
                <c:pt idx="2394">
                  <c:v>0.00954166666666667</c:v>
                </c:pt>
                <c:pt idx="2395">
                  <c:v>0.00954166666666667</c:v>
                </c:pt>
                <c:pt idx="2396">
                  <c:v>0.00954166666666667</c:v>
                </c:pt>
                <c:pt idx="2397">
                  <c:v>0.00954166666666667</c:v>
                </c:pt>
                <c:pt idx="2398">
                  <c:v>0.00954166666666667</c:v>
                </c:pt>
                <c:pt idx="2399">
                  <c:v>0.00954166666666667</c:v>
                </c:pt>
                <c:pt idx="2400">
                  <c:v>0.00954166666666667</c:v>
                </c:pt>
                <c:pt idx="2401">
                  <c:v>0.00954166666666667</c:v>
                </c:pt>
                <c:pt idx="2402">
                  <c:v>0.00954166666666667</c:v>
                </c:pt>
                <c:pt idx="2403">
                  <c:v>0.00954166666666667</c:v>
                </c:pt>
                <c:pt idx="2404">
                  <c:v>0.00954166666666667</c:v>
                </c:pt>
                <c:pt idx="2405">
                  <c:v>0.00954166666666667</c:v>
                </c:pt>
                <c:pt idx="2406">
                  <c:v>0.00954166666666667</c:v>
                </c:pt>
                <c:pt idx="2407">
                  <c:v>0.00954166666666667</c:v>
                </c:pt>
                <c:pt idx="2408">
                  <c:v>0.00954166666666667</c:v>
                </c:pt>
                <c:pt idx="2409">
                  <c:v>0.00954166666666667</c:v>
                </c:pt>
                <c:pt idx="2410">
                  <c:v>0.00954166666666667</c:v>
                </c:pt>
                <c:pt idx="2411">
                  <c:v>0.00954166666666667</c:v>
                </c:pt>
                <c:pt idx="2412">
                  <c:v>0.00954166666666667</c:v>
                </c:pt>
                <c:pt idx="2413">
                  <c:v>0.00954166666666667</c:v>
                </c:pt>
                <c:pt idx="2414">
                  <c:v>0.00954166666666667</c:v>
                </c:pt>
                <c:pt idx="2415">
                  <c:v>0.00954166666666667</c:v>
                </c:pt>
                <c:pt idx="2416">
                  <c:v>0.00954166666666667</c:v>
                </c:pt>
                <c:pt idx="2417">
                  <c:v>0.00954166666666667</c:v>
                </c:pt>
                <c:pt idx="2418">
                  <c:v>0.00954166666666667</c:v>
                </c:pt>
                <c:pt idx="2419">
                  <c:v>0.00954166666666667</c:v>
                </c:pt>
                <c:pt idx="2420">
                  <c:v>0.00954166666666667</c:v>
                </c:pt>
                <c:pt idx="2421">
                  <c:v>0.00954166666666667</c:v>
                </c:pt>
                <c:pt idx="2422">
                  <c:v>0.00954166666666667</c:v>
                </c:pt>
                <c:pt idx="2423">
                  <c:v>0.00954166666666667</c:v>
                </c:pt>
                <c:pt idx="2424">
                  <c:v>0.00954166666666667</c:v>
                </c:pt>
                <c:pt idx="2425">
                  <c:v>0.00954166666666667</c:v>
                </c:pt>
                <c:pt idx="2426">
                  <c:v>0.00954166666666667</c:v>
                </c:pt>
                <c:pt idx="2427">
                  <c:v>0.00954166666666667</c:v>
                </c:pt>
                <c:pt idx="2428">
                  <c:v>0.00954166666666667</c:v>
                </c:pt>
                <c:pt idx="2429">
                  <c:v>0.00954166666666667</c:v>
                </c:pt>
                <c:pt idx="2430">
                  <c:v>0.00954166666666667</c:v>
                </c:pt>
                <c:pt idx="2431">
                  <c:v>0.00954166666666667</c:v>
                </c:pt>
                <c:pt idx="2432">
                  <c:v>0.00954166666666667</c:v>
                </c:pt>
                <c:pt idx="2433">
                  <c:v>0.00954166666666667</c:v>
                </c:pt>
                <c:pt idx="2434">
                  <c:v>0.00954166666666667</c:v>
                </c:pt>
                <c:pt idx="2435">
                  <c:v>0.00954166666666667</c:v>
                </c:pt>
                <c:pt idx="2436">
                  <c:v>0.00954166666666667</c:v>
                </c:pt>
                <c:pt idx="2437">
                  <c:v>0.00954166666666667</c:v>
                </c:pt>
                <c:pt idx="2438">
                  <c:v>0.00954166666666667</c:v>
                </c:pt>
                <c:pt idx="2439">
                  <c:v>0.00954166666666667</c:v>
                </c:pt>
                <c:pt idx="2440">
                  <c:v>0.00954166666666667</c:v>
                </c:pt>
                <c:pt idx="2441">
                  <c:v>0.00954166666666667</c:v>
                </c:pt>
                <c:pt idx="2442">
                  <c:v>0.00954166666666667</c:v>
                </c:pt>
                <c:pt idx="2443">
                  <c:v>0.00954166666666667</c:v>
                </c:pt>
                <c:pt idx="2444">
                  <c:v>0.00954166666666667</c:v>
                </c:pt>
                <c:pt idx="2445">
                  <c:v>0.00954166666666667</c:v>
                </c:pt>
                <c:pt idx="2446">
                  <c:v>0.00954166666666667</c:v>
                </c:pt>
                <c:pt idx="2447">
                  <c:v>0.00954166666666667</c:v>
                </c:pt>
                <c:pt idx="2448">
                  <c:v>0.00954166666666667</c:v>
                </c:pt>
                <c:pt idx="2449">
                  <c:v>0.00954166666666667</c:v>
                </c:pt>
                <c:pt idx="2450">
                  <c:v>0.00954166666666667</c:v>
                </c:pt>
                <c:pt idx="2451">
                  <c:v>0.00954166666666667</c:v>
                </c:pt>
                <c:pt idx="2452">
                  <c:v>0.00954166666666667</c:v>
                </c:pt>
                <c:pt idx="2453">
                  <c:v>0.00954166666666667</c:v>
                </c:pt>
                <c:pt idx="2454">
                  <c:v>0.00954166666666667</c:v>
                </c:pt>
                <c:pt idx="2455">
                  <c:v>0.00954166666666667</c:v>
                </c:pt>
                <c:pt idx="2456">
                  <c:v>0.00954166666666667</c:v>
                </c:pt>
                <c:pt idx="2457">
                  <c:v>0.00954166666666667</c:v>
                </c:pt>
                <c:pt idx="2458">
                  <c:v>0.00954166666666667</c:v>
                </c:pt>
                <c:pt idx="2459">
                  <c:v>0.00954166666666667</c:v>
                </c:pt>
                <c:pt idx="2460">
                  <c:v>0.00954166666666667</c:v>
                </c:pt>
                <c:pt idx="2461">
                  <c:v>0.00954166666666667</c:v>
                </c:pt>
                <c:pt idx="2462">
                  <c:v>0.00954166666666667</c:v>
                </c:pt>
                <c:pt idx="2463">
                  <c:v>0.00954166666666667</c:v>
                </c:pt>
                <c:pt idx="2464">
                  <c:v>0.00954166666666667</c:v>
                </c:pt>
                <c:pt idx="2465">
                  <c:v>0.00954166666666667</c:v>
                </c:pt>
                <c:pt idx="2466">
                  <c:v>0.00954166666666667</c:v>
                </c:pt>
                <c:pt idx="2467">
                  <c:v>0.00954166666666667</c:v>
                </c:pt>
                <c:pt idx="2468">
                  <c:v>0.00954166666666667</c:v>
                </c:pt>
                <c:pt idx="2469">
                  <c:v>0.00954166666666667</c:v>
                </c:pt>
                <c:pt idx="2470">
                  <c:v>0.00954166666666667</c:v>
                </c:pt>
                <c:pt idx="2471">
                  <c:v>0.00954166666666667</c:v>
                </c:pt>
                <c:pt idx="2472">
                  <c:v>0.00954166666666667</c:v>
                </c:pt>
                <c:pt idx="2473">
                  <c:v>0.00954166666666667</c:v>
                </c:pt>
                <c:pt idx="2474">
                  <c:v>0.00954166666666667</c:v>
                </c:pt>
                <c:pt idx="2475">
                  <c:v>0.00954166666666667</c:v>
                </c:pt>
                <c:pt idx="2476">
                  <c:v>0.00954166666666667</c:v>
                </c:pt>
                <c:pt idx="2477">
                  <c:v>0.00954166666666667</c:v>
                </c:pt>
                <c:pt idx="2478">
                  <c:v>0.00954166666666667</c:v>
                </c:pt>
                <c:pt idx="2479">
                  <c:v>0.00954166666666667</c:v>
                </c:pt>
                <c:pt idx="2480">
                  <c:v>0.00954166666666667</c:v>
                </c:pt>
                <c:pt idx="2481">
                  <c:v>0.00954166666666667</c:v>
                </c:pt>
                <c:pt idx="2482">
                  <c:v>0.00954166666666667</c:v>
                </c:pt>
                <c:pt idx="2483">
                  <c:v>0.00954166666666667</c:v>
                </c:pt>
                <c:pt idx="2484">
                  <c:v>0.00954166666666667</c:v>
                </c:pt>
                <c:pt idx="2485">
                  <c:v>0.00954166666666667</c:v>
                </c:pt>
                <c:pt idx="2486">
                  <c:v>0.00954166666666667</c:v>
                </c:pt>
                <c:pt idx="2487">
                  <c:v>0.00954166666666667</c:v>
                </c:pt>
                <c:pt idx="2488">
                  <c:v>0.00954166666666667</c:v>
                </c:pt>
                <c:pt idx="2489">
                  <c:v>0.00954166666666667</c:v>
                </c:pt>
                <c:pt idx="2490">
                  <c:v>0.00954166666666667</c:v>
                </c:pt>
                <c:pt idx="2491">
                  <c:v>0.00954166666666667</c:v>
                </c:pt>
                <c:pt idx="2492">
                  <c:v>0.00954166666666667</c:v>
                </c:pt>
                <c:pt idx="2493">
                  <c:v>0.00954166666666667</c:v>
                </c:pt>
                <c:pt idx="2494">
                  <c:v>0.00954166666666667</c:v>
                </c:pt>
                <c:pt idx="2495">
                  <c:v>0.00954166666666667</c:v>
                </c:pt>
                <c:pt idx="2496">
                  <c:v>0.00954166666666667</c:v>
                </c:pt>
                <c:pt idx="2497">
                  <c:v>0.00954166666666667</c:v>
                </c:pt>
                <c:pt idx="2498">
                  <c:v>0.00954166666666667</c:v>
                </c:pt>
                <c:pt idx="2499">
                  <c:v>0.00954166666666667</c:v>
                </c:pt>
                <c:pt idx="2500">
                  <c:v>0.00954166666666667</c:v>
                </c:pt>
                <c:pt idx="2501">
                  <c:v>0.00954166666666667</c:v>
                </c:pt>
                <c:pt idx="2502">
                  <c:v>0.00954166666666667</c:v>
                </c:pt>
                <c:pt idx="2503">
                  <c:v>0.00954166666666667</c:v>
                </c:pt>
                <c:pt idx="2504">
                  <c:v>0.00954166666666667</c:v>
                </c:pt>
                <c:pt idx="2505">
                  <c:v>0.00954166666666667</c:v>
                </c:pt>
                <c:pt idx="2506">
                  <c:v>0.00954166666666667</c:v>
                </c:pt>
                <c:pt idx="2507">
                  <c:v>0.00954166666666667</c:v>
                </c:pt>
                <c:pt idx="2508">
                  <c:v>0.00954166666666667</c:v>
                </c:pt>
                <c:pt idx="2509">
                  <c:v>0.00954166666666667</c:v>
                </c:pt>
                <c:pt idx="2510">
                  <c:v>0.00954166666666667</c:v>
                </c:pt>
                <c:pt idx="2511">
                  <c:v>0.00954166666666667</c:v>
                </c:pt>
                <c:pt idx="2512">
                  <c:v>0.00954166666666667</c:v>
                </c:pt>
                <c:pt idx="2513">
                  <c:v>0.00954166666666667</c:v>
                </c:pt>
                <c:pt idx="2514">
                  <c:v>0.00954166666666667</c:v>
                </c:pt>
                <c:pt idx="2515">
                  <c:v>0.00954166666666667</c:v>
                </c:pt>
                <c:pt idx="2516">
                  <c:v>0.00954166666666667</c:v>
                </c:pt>
                <c:pt idx="2517">
                  <c:v>0.00954166666666667</c:v>
                </c:pt>
                <c:pt idx="2518">
                  <c:v>0.00954166666666667</c:v>
                </c:pt>
                <c:pt idx="2519">
                  <c:v>0.00954166666666667</c:v>
                </c:pt>
                <c:pt idx="2520">
                  <c:v>0.00954166666666667</c:v>
                </c:pt>
                <c:pt idx="2521">
                  <c:v>0.00954166666666667</c:v>
                </c:pt>
                <c:pt idx="2522">
                  <c:v>0.00954166666666667</c:v>
                </c:pt>
                <c:pt idx="2523">
                  <c:v>0.00954166666666667</c:v>
                </c:pt>
                <c:pt idx="2524">
                  <c:v>0.00954166666666667</c:v>
                </c:pt>
                <c:pt idx="2525">
                  <c:v>0.00954166666666667</c:v>
                </c:pt>
                <c:pt idx="2526">
                  <c:v>0.00954166666666667</c:v>
                </c:pt>
                <c:pt idx="2527">
                  <c:v>0.00954166666666667</c:v>
                </c:pt>
                <c:pt idx="2528">
                  <c:v>0.00954166666666667</c:v>
                </c:pt>
                <c:pt idx="2529">
                  <c:v>0.00954166666666667</c:v>
                </c:pt>
                <c:pt idx="2530">
                  <c:v>0.00954166666666667</c:v>
                </c:pt>
                <c:pt idx="2531">
                  <c:v>0.00954166666666667</c:v>
                </c:pt>
                <c:pt idx="2532">
                  <c:v>0.00954166666666667</c:v>
                </c:pt>
                <c:pt idx="2533">
                  <c:v>0.00954166666666667</c:v>
                </c:pt>
                <c:pt idx="2534">
                  <c:v>0.00954166666666667</c:v>
                </c:pt>
                <c:pt idx="2535">
                  <c:v>0.00954166666666667</c:v>
                </c:pt>
                <c:pt idx="2536">
                  <c:v>0.00954166666666667</c:v>
                </c:pt>
                <c:pt idx="2537">
                  <c:v>0.00954166666666667</c:v>
                </c:pt>
                <c:pt idx="2538">
                  <c:v>0.00954166666666667</c:v>
                </c:pt>
                <c:pt idx="2539">
                  <c:v>0.00954166666666667</c:v>
                </c:pt>
                <c:pt idx="2540">
                  <c:v>0.00954166666666667</c:v>
                </c:pt>
                <c:pt idx="2541">
                  <c:v>0.00954166666666667</c:v>
                </c:pt>
                <c:pt idx="2542">
                  <c:v>0.00954166666666667</c:v>
                </c:pt>
                <c:pt idx="2543">
                  <c:v>0.00954166666666667</c:v>
                </c:pt>
                <c:pt idx="2544">
                  <c:v>0.00954166666666667</c:v>
                </c:pt>
                <c:pt idx="2545">
                  <c:v>0.00954166666666667</c:v>
                </c:pt>
                <c:pt idx="2546">
                  <c:v>0.00954166666666667</c:v>
                </c:pt>
                <c:pt idx="2547">
                  <c:v>0.00954166666666667</c:v>
                </c:pt>
                <c:pt idx="2548">
                  <c:v>0.00954166666666667</c:v>
                </c:pt>
                <c:pt idx="2549">
                  <c:v>0.00954166666666667</c:v>
                </c:pt>
                <c:pt idx="2550">
                  <c:v>0.00954166666666667</c:v>
                </c:pt>
                <c:pt idx="2551">
                  <c:v>0.00954166666666667</c:v>
                </c:pt>
                <c:pt idx="2552">
                  <c:v>0.00954166666666667</c:v>
                </c:pt>
                <c:pt idx="2553">
                  <c:v>0.00954166666666667</c:v>
                </c:pt>
                <c:pt idx="2554">
                  <c:v>0.00954166666666667</c:v>
                </c:pt>
                <c:pt idx="2555">
                  <c:v>0.00954166666666667</c:v>
                </c:pt>
                <c:pt idx="2556">
                  <c:v>0.00954166666666667</c:v>
                </c:pt>
                <c:pt idx="2557">
                  <c:v>0.00954166666666667</c:v>
                </c:pt>
                <c:pt idx="2558">
                  <c:v>0.00954166666666667</c:v>
                </c:pt>
                <c:pt idx="2559">
                  <c:v>0.00954166666666667</c:v>
                </c:pt>
                <c:pt idx="2560">
                  <c:v>0.00954166666666667</c:v>
                </c:pt>
                <c:pt idx="2561">
                  <c:v>0.00954166666666667</c:v>
                </c:pt>
                <c:pt idx="2562">
                  <c:v>0.00954166666666667</c:v>
                </c:pt>
                <c:pt idx="2563">
                  <c:v>0.00954166666666667</c:v>
                </c:pt>
                <c:pt idx="2564">
                  <c:v>0.00954166666666667</c:v>
                </c:pt>
                <c:pt idx="2565">
                  <c:v>0.00954166666666667</c:v>
                </c:pt>
                <c:pt idx="2566">
                  <c:v>0.00954166666666667</c:v>
                </c:pt>
                <c:pt idx="2567">
                  <c:v>0.00954166666666667</c:v>
                </c:pt>
                <c:pt idx="2568">
                  <c:v>0.00954166666666667</c:v>
                </c:pt>
                <c:pt idx="2569">
                  <c:v>0.00954166666666667</c:v>
                </c:pt>
                <c:pt idx="2570">
                  <c:v>0.00954166666666667</c:v>
                </c:pt>
                <c:pt idx="2571">
                  <c:v>0.00954166666666667</c:v>
                </c:pt>
                <c:pt idx="2572">
                  <c:v>0.00954166666666667</c:v>
                </c:pt>
                <c:pt idx="2573">
                  <c:v>0.00954166666666667</c:v>
                </c:pt>
                <c:pt idx="2574">
                  <c:v>0.00954166666666667</c:v>
                </c:pt>
                <c:pt idx="2575">
                  <c:v>0.00954166666666667</c:v>
                </c:pt>
                <c:pt idx="2576">
                  <c:v>0.00954166666666667</c:v>
                </c:pt>
                <c:pt idx="2577">
                  <c:v>0.00954166666666667</c:v>
                </c:pt>
                <c:pt idx="2578">
                  <c:v>0.00954166666666667</c:v>
                </c:pt>
                <c:pt idx="2579">
                  <c:v>0.00954166666666667</c:v>
                </c:pt>
                <c:pt idx="2580">
                  <c:v>0.00954166666666667</c:v>
                </c:pt>
                <c:pt idx="2581">
                  <c:v>0.00954166666666667</c:v>
                </c:pt>
                <c:pt idx="2582">
                  <c:v>0.00954166666666667</c:v>
                </c:pt>
                <c:pt idx="2583">
                  <c:v>0.00954166666666667</c:v>
                </c:pt>
                <c:pt idx="2584">
                  <c:v>0.00954166666666667</c:v>
                </c:pt>
                <c:pt idx="2585">
                  <c:v>0.00954166666666667</c:v>
                </c:pt>
                <c:pt idx="2586">
                  <c:v>0.00954166666666667</c:v>
                </c:pt>
                <c:pt idx="2587">
                  <c:v>0.00954166666666667</c:v>
                </c:pt>
                <c:pt idx="2588">
                  <c:v>0.00954166666666667</c:v>
                </c:pt>
                <c:pt idx="2589">
                  <c:v>0.00954166666666667</c:v>
                </c:pt>
                <c:pt idx="2590">
                  <c:v>0.00954166666666667</c:v>
                </c:pt>
                <c:pt idx="2591">
                  <c:v>0.00954166666666667</c:v>
                </c:pt>
                <c:pt idx="2592">
                  <c:v>0.00954166666666667</c:v>
                </c:pt>
                <c:pt idx="2593">
                  <c:v>0.00954166666666667</c:v>
                </c:pt>
                <c:pt idx="2594">
                  <c:v>0.00954166666666667</c:v>
                </c:pt>
                <c:pt idx="2595">
                  <c:v>0.00954166666666667</c:v>
                </c:pt>
                <c:pt idx="2596">
                  <c:v>0.00954166666666667</c:v>
                </c:pt>
                <c:pt idx="2597">
                  <c:v>0.00954166666666667</c:v>
                </c:pt>
                <c:pt idx="2598">
                  <c:v>0.00954166666666667</c:v>
                </c:pt>
                <c:pt idx="2599">
                  <c:v>0.00954166666666667</c:v>
                </c:pt>
                <c:pt idx="2600">
                  <c:v>0.00954166666666667</c:v>
                </c:pt>
                <c:pt idx="2601">
                  <c:v>0.00954166666666667</c:v>
                </c:pt>
                <c:pt idx="2602">
                  <c:v>0.00954166666666667</c:v>
                </c:pt>
                <c:pt idx="2603">
                  <c:v>0.00954166666666667</c:v>
                </c:pt>
                <c:pt idx="2604">
                  <c:v>0.00954166666666667</c:v>
                </c:pt>
                <c:pt idx="2605">
                  <c:v>0.00954166666666667</c:v>
                </c:pt>
                <c:pt idx="2606">
                  <c:v>0.00954166666666667</c:v>
                </c:pt>
                <c:pt idx="2607">
                  <c:v>0.00954166666666667</c:v>
                </c:pt>
                <c:pt idx="2608">
                  <c:v>0.00954166666666667</c:v>
                </c:pt>
                <c:pt idx="2609">
                  <c:v>0.00954166666666667</c:v>
                </c:pt>
                <c:pt idx="2610">
                  <c:v>0.00954166666666667</c:v>
                </c:pt>
                <c:pt idx="2611">
                  <c:v>0.00954166666666667</c:v>
                </c:pt>
                <c:pt idx="2612">
                  <c:v>0.00954166666666667</c:v>
                </c:pt>
                <c:pt idx="2613">
                  <c:v>0.00954166666666667</c:v>
                </c:pt>
                <c:pt idx="2614">
                  <c:v>0.00954166666666667</c:v>
                </c:pt>
                <c:pt idx="2615">
                  <c:v>0.00954166666666667</c:v>
                </c:pt>
                <c:pt idx="2616">
                  <c:v>0.00954166666666667</c:v>
                </c:pt>
                <c:pt idx="2617">
                  <c:v>0.00954166666666667</c:v>
                </c:pt>
                <c:pt idx="2618">
                  <c:v>0.00954166666666667</c:v>
                </c:pt>
                <c:pt idx="2619">
                  <c:v>0.00954166666666667</c:v>
                </c:pt>
                <c:pt idx="2620">
                  <c:v>0.00954166666666667</c:v>
                </c:pt>
                <c:pt idx="2621">
                  <c:v>0.00954166666666667</c:v>
                </c:pt>
                <c:pt idx="2622">
                  <c:v>0.00954166666666667</c:v>
                </c:pt>
                <c:pt idx="2623">
                  <c:v>0.00954166666666667</c:v>
                </c:pt>
                <c:pt idx="2624">
                  <c:v>0.00954166666666667</c:v>
                </c:pt>
                <c:pt idx="2625">
                  <c:v>0.00954166666666667</c:v>
                </c:pt>
                <c:pt idx="2626">
                  <c:v>0.00954166666666667</c:v>
                </c:pt>
                <c:pt idx="2627">
                  <c:v>0.00954166666666667</c:v>
                </c:pt>
                <c:pt idx="2628">
                  <c:v>0.00954166666666667</c:v>
                </c:pt>
                <c:pt idx="2629">
                  <c:v>0.00954166666666667</c:v>
                </c:pt>
                <c:pt idx="2630">
                  <c:v>0.00954166666666667</c:v>
                </c:pt>
                <c:pt idx="2631">
                  <c:v>0.00954166666666667</c:v>
                </c:pt>
                <c:pt idx="2632">
                  <c:v>0.00954166666666667</c:v>
                </c:pt>
                <c:pt idx="2633">
                  <c:v>0.00954166666666667</c:v>
                </c:pt>
                <c:pt idx="2634">
                  <c:v>0.00954166666666667</c:v>
                </c:pt>
                <c:pt idx="2635">
                  <c:v>0.00954166666666667</c:v>
                </c:pt>
                <c:pt idx="2636">
                  <c:v>0.00954166666666667</c:v>
                </c:pt>
                <c:pt idx="2637">
                  <c:v>0.00954166666666667</c:v>
                </c:pt>
                <c:pt idx="2638">
                  <c:v>0.00954166666666667</c:v>
                </c:pt>
                <c:pt idx="2639">
                  <c:v>0.00954166666666667</c:v>
                </c:pt>
                <c:pt idx="2640">
                  <c:v>0.00954166666666667</c:v>
                </c:pt>
                <c:pt idx="2641">
                  <c:v>0.00954166666666667</c:v>
                </c:pt>
                <c:pt idx="2642">
                  <c:v>0.00954166666666667</c:v>
                </c:pt>
                <c:pt idx="2643">
                  <c:v>0.00954166666666667</c:v>
                </c:pt>
                <c:pt idx="2644">
                  <c:v>0.00954166666666667</c:v>
                </c:pt>
                <c:pt idx="2645">
                  <c:v>0.00954166666666667</c:v>
                </c:pt>
                <c:pt idx="2646">
                  <c:v>0.00954166666666667</c:v>
                </c:pt>
                <c:pt idx="2647">
                  <c:v>0.00954166666666667</c:v>
                </c:pt>
                <c:pt idx="2648">
                  <c:v>0.00954166666666667</c:v>
                </c:pt>
                <c:pt idx="2649">
                  <c:v>0.00954166666666667</c:v>
                </c:pt>
                <c:pt idx="2650">
                  <c:v>0.00954166666666667</c:v>
                </c:pt>
                <c:pt idx="2651">
                  <c:v>0.00954166666666667</c:v>
                </c:pt>
                <c:pt idx="2652">
                  <c:v>0.00954166666666667</c:v>
                </c:pt>
                <c:pt idx="2653">
                  <c:v>0.00954166666666667</c:v>
                </c:pt>
                <c:pt idx="2654">
                  <c:v>0.00954166666666667</c:v>
                </c:pt>
                <c:pt idx="2655">
                  <c:v>0.00954166666666667</c:v>
                </c:pt>
                <c:pt idx="2656">
                  <c:v>0.00954166666666667</c:v>
                </c:pt>
                <c:pt idx="2657">
                  <c:v>0.00954166666666667</c:v>
                </c:pt>
                <c:pt idx="2658">
                  <c:v>0.00954166666666667</c:v>
                </c:pt>
                <c:pt idx="2659">
                  <c:v>0.00954166666666667</c:v>
                </c:pt>
                <c:pt idx="2660">
                  <c:v>0.00954166666666667</c:v>
                </c:pt>
                <c:pt idx="2661">
                  <c:v>0.00954166666666667</c:v>
                </c:pt>
                <c:pt idx="2662">
                  <c:v>0.00954166666666667</c:v>
                </c:pt>
                <c:pt idx="2663">
                  <c:v>0.00954166666666667</c:v>
                </c:pt>
                <c:pt idx="2664">
                  <c:v>0.00954166666666667</c:v>
                </c:pt>
                <c:pt idx="2665">
                  <c:v>0.00954166666666667</c:v>
                </c:pt>
                <c:pt idx="2666">
                  <c:v>0.00954166666666667</c:v>
                </c:pt>
                <c:pt idx="2667">
                  <c:v>0.00954166666666667</c:v>
                </c:pt>
                <c:pt idx="2668">
                  <c:v>0.00954166666666667</c:v>
                </c:pt>
                <c:pt idx="2669">
                  <c:v>0.00954166666666667</c:v>
                </c:pt>
                <c:pt idx="2670">
                  <c:v>0.00954166666666667</c:v>
                </c:pt>
                <c:pt idx="2671">
                  <c:v>0.00954166666666667</c:v>
                </c:pt>
                <c:pt idx="2672">
                  <c:v>0.00954166666666667</c:v>
                </c:pt>
                <c:pt idx="2673">
                  <c:v>0.00954166666666667</c:v>
                </c:pt>
                <c:pt idx="2674">
                  <c:v>0.00954166666666667</c:v>
                </c:pt>
                <c:pt idx="2675">
                  <c:v>0.00954166666666667</c:v>
                </c:pt>
                <c:pt idx="2676">
                  <c:v>0.00954166666666667</c:v>
                </c:pt>
                <c:pt idx="2677">
                  <c:v>0.00954166666666667</c:v>
                </c:pt>
                <c:pt idx="2678">
                  <c:v>0.00954166666666667</c:v>
                </c:pt>
                <c:pt idx="2679">
                  <c:v>0.00954166666666667</c:v>
                </c:pt>
                <c:pt idx="2680">
                  <c:v>0.00954166666666667</c:v>
                </c:pt>
                <c:pt idx="2681">
                  <c:v>0.00954166666666667</c:v>
                </c:pt>
                <c:pt idx="2682">
                  <c:v>0.00954166666666667</c:v>
                </c:pt>
                <c:pt idx="2683">
                  <c:v>0.00954166666666667</c:v>
                </c:pt>
                <c:pt idx="2684">
                  <c:v>0.00954166666666667</c:v>
                </c:pt>
                <c:pt idx="2685">
                  <c:v>0.00954166666666667</c:v>
                </c:pt>
                <c:pt idx="2686">
                  <c:v>0.00954166666666667</c:v>
                </c:pt>
                <c:pt idx="2687">
                  <c:v>0.00954166666666667</c:v>
                </c:pt>
                <c:pt idx="2688">
                  <c:v>0.00954166666666667</c:v>
                </c:pt>
                <c:pt idx="2689">
                  <c:v>0.00954166666666667</c:v>
                </c:pt>
                <c:pt idx="2690">
                  <c:v>0.00954166666666667</c:v>
                </c:pt>
                <c:pt idx="2691">
                  <c:v>0.00954166666666667</c:v>
                </c:pt>
                <c:pt idx="2692">
                  <c:v>0.00954166666666667</c:v>
                </c:pt>
                <c:pt idx="2693">
                  <c:v>0.00954166666666667</c:v>
                </c:pt>
                <c:pt idx="2694">
                  <c:v>0.00954166666666667</c:v>
                </c:pt>
                <c:pt idx="2695">
                  <c:v>0.00954166666666667</c:v>
                </c:pt>
                <c:pt idx="2696">
                  <c:v>0.00954166666666667</c:v>
                </c:pt>
                <c:pt idx="2697">
                  <c:v>0.00954166666666667</c:v>
                </c:pt>
                <c:pt idx="2698">
                  <c:v>0.00954166666666667</c:v>
                </c:pt>
                <c:pt idx="2699">
                  <c:v>0.00954166666666667</c:v>
                </c:pt>
                <c:pt idx="2700">
                  <c:v>0.00954166666666667</c:v>
                </c:pt>
                <c:pt idx="2701">
                  <c:v>0.00954166666666667</c:v>
                </c:pt>
                <c:pt idx="2702">
                  <c:v>0.00954166666666667</c:v>
                </c:pt>
                <c:pt idx="2703">
                  <c:v>0.00954166666666667</c:v>
                </c:pt>
                <c:pt idx="2704">
                  <c:v>0.00954166666666667</c:v>
                </c:pt>
                <c:pt idx="2705">
                  <c:v>0.00954166666666667</c:v>
                </c:pt>
                <c:pt idx="2706">
                  <c:v>0.00954166666666667</c:v>
                </c:pt>
                <c:pt idx="2707">
                  <c:v>0.00954166666666667</c:v>
                </c:pt>
                <c:pt idx="2708">
                  <c:v>0.00954166666666667</c:v>
                </c:pt>
                <c:pt idx="2709">
                  <c:v>0.00954166666666667</c:v>
                </c:pt>
                <c:pt idx="2710">
                  <c:v>0.00954166666666667</c:v>
                </c:pt>
                <c:pt idx="2711">
                  <c:v>0.00954166666666667</c:v>
                </c:pt>
                <c:pt idx="2712">
                  <c:v>0.00954166666666667</c:v>
                </c:pt>
                <c:pt idx="2713">
                  <c:v>0.00954166666666667</c:v>
                </c:pt>
                <c:pt idx="2714">
                  <c:v>0.00954166666666667</c:v>
                </c:pt>
                <c:pt idx="2715">
                  <c:v>0.00954166666666667</c:v>
                </c:pt>
                <c:pt idx="2716">
                  <c:v>0.00954166666666667</c:v>
                </c:pt>
                <c:pt idx="2717">
                  <c:v>0.00954166666666667</c:v>
                </c:pt>
                <c:pt idx="2718">
                  <c:v>0.00954166666666667</c:v>
                </c:pt>
                <c:pt idx="2719">
                  <c:v>0.00954166666666667</c:v>
                </c:pt>
                <c:pt idx="2720">
                  <c:v>0.00954166666666667</c:v>
                </c:pt>
                <c:pt idx="2721">
                  <c:v>0.00954166666666667</c:v>
                </c:pt>
                <c:pt idx="2722">
                  <c:v>0.00954166666666667</c:v>
                </c:pt>
                <c:pt idx="2723">
                  <c:v>0.00954166666666667</c:v>
                </c:pt>
                <c:pt idx="2724">
                  <c:v>0.00954166666666667</c:v>
                </c:pt>
                <c:pt idx="2725">
                  <c:v>0.00954166666666667</c:v>
                </c:pt>
                <c:pt idx="2726">
                  <c:v>0.00954166666666667</c:v>
                </c:pt>
                <c:pt idx="2727">
                  <c:v>0.00954166666666667</c:v>
                </c:pt>
                <c:pt idx="2728">
                  <c:v>0.00954166666666667</c:v>
                </c:pt>
                <c:pt idx="2729">
                  <c:v>0.00954166666666667</c:v>
                </c:pt>
                <c:pt idx="2730">
                  <c:v>0.0</c:v>
                </c:pt>
                <c:pt idx="2731">
                  <c:v>0.0</c:v>
                </c:pt>
                <c:pt idx="2732">
                  <c:v>0.0</c:v>
                </c:pt>
                <c:pt idx="2733">
                  <c:v>0.0</c:v>
                </c:pt>
                <c:pt idx="2734">
                  <c:v>0.0</c:v>
                </c:pt>
                <c:pt idx="2735">
                  <c:v>0.0</c:v>
                </c:pt>
                <c:pt idx="2736">
                  <c:v>0.0</c:v>
                </c:pt>
                <c:pt idx="2737">
                  <c:v>0.0</c:v>
                </c:pt>
                <c:pt idx="2738">
                  <c:v>0.0</c:v>
                </c:pt>
                <c:pt idx="2739">
                  <c:v>0.0</c:v>
                </c:pt>
                <c:pt idx="2740">
                  <c:v>0.0</c:v>
                </c:pt>
                <c:pt idx="2741">
                  <c:v>0.0</c:v>
                </c:pt>
                <c:pt idx="2742">
                  <c:v>0.0</c:v>
                </c:pt>
                <c:pt idx="2743">
                  <c:v>0.0</c:v>
                </c:pt>
                <c:pt idx="2744">
                  <c:v>0.0</c:v>
                </c:pt>
                <c:pt idx="2745">
                  <c:v>0.0</c:v>
                </c:pt>
                <c:pt idx="2746">
                  <c:v>0.0</c:v>
                </c:pt>
                <c:pt idx="2747">
                  <c:v>0.0</c:v>
                </c:pt>
                <c:pt idx="2748">
                  <c:v>0.0</c:v>
                </c:pt>
                <c:pt idx="2749">
                  <c:v>0.0</c:v>
                </c:pt>
                <c:pt idx="2750">
                  <c:v>0.0</c:v>
                </c:pt>
                <c:pt idx="2751">
                  <c:v>0.0</c:v>
                </c:pt>
                <c:pt idx="2752">
                  <c:v>0.0</c:v>
                </c:pt>
                <c:pt idx="2753">
                  <c:v>0.0</c:v>
                </c:pt>
                <c:pt idx="2754">
                  <c:v>0.0</c:v>
                </c:pt>
                <c:pt idx="2755">
                  <c:v>0.0</c:v>
                </c:pt>
                <c:pt idx="2756">
                  <c:v>0.0</c:v>
                </c:pt>
                <c:pt idx="2757">
                  <c:v>0.0</c:v>
                </c:pt>
                <c:pt idx="2758">
                  <c:v>0.0</c:v>
                </c:pt>
                <c:pt idx="2759">
                  <c:v>0.0</c:v>
                </c:pt>
                <c:pt idx="2760">
                  <c:v>0.0</c:v>
                </c:pt>
                <c:pt idx="2761">
                  <c:v>0.0</c:v>
                </c:pt>
                <c:pt idx="2762">
                  <c:v>0.0</c:v>
                </c:pt>
                <c:pt idx="2763">
                  <c:v>0.0</c:v>
                </c:pt>
                <c:pt idx="2764">
                  <c:v>0.0</c:v>
                </c:pt>
                <c:pt idx="2765">
                  <c:v>0.0</c:v>
                </c:pt>
                <c:pt idx="2766">
                  <c:v>0.0</c:v>
                </c:pt>
                <c:pt idx="2767">
                  <c:v>0.0</c:v>
                </c:pt>
                <c:pt idx="2768">
                  <c:v>0.0</c:v>
                </c:pt>
                <c:pt idx="2769">
                  <c:v>0.0</c:v>
                </c:pt>
                <c:pt idx="2770">
                  <c:v>0.0</c:v>
                </c:pt>
                <c:pt idx="2771">
                  <c:v>0.0</c:v>
                </c:pt>
                <c:pt idx="2772">
                  <c:v>0.0</c:v>
                </c:pt>
                <c:pt idx="2773">
                  <c:v>0.0</c:v>
                </c:pt>
                <c:pt idx="2774">
                  <c:v>0.0</c:v>
                </c:pt>
                <c:pt idx="2775">
                  <c:v>0.0</c:v>
                </c:pt>
                <c:pt idx="2776">
                  <c:v>0.0</c:v>
                </c:pt>
                <c:pt idx="2777">
                  <c:v>0.0</c:v>
                </c:pt>
                <c:pt idx="2778">
                  <c:v>0.0</c:v>
                </c:pt>
                <c:pt idx="2779">
                  <c:v>0.0</c:v>
                </c:pt>
                <c:pt idx="2780">
                  <c:v>0.0</c:v>
                </c:pt>
                <c:pt idx="2781">
                  <c:v>0.0</c:v>
                </c:pt>
                <c:pt idx="2782">
                  <c:v>0.0</c:v>
                </c:pt>
                <c:pt idx="2783">
                  <c:v>0.0</c:v>
                </c:pt>
                <c:pt idx="2784">
                  <c:v>0.0</c:v>
                </c:pt>
                <c:pt idx="2785">
                  <c:v>0.0</c:v>
                </c:pt>
                <c:pt idx="2786">
                  <c:v>0.0</c:v>
                </c:pt>
                <c:pt idx="2787">
                  <c:v>0.0</c:v>
                </c:pt>
                <c:pt idx="2788">
                  <c:v>0.0</c:v>
                </c:pt>
                <c:pt idx="2789">
                  <c:v>0.0</c:v>
                </c:pt>
                <c:pt idx="2790">
                  <c:v>0.0</c:v>
                </c:pt>
                <c:pt idx="2791">
                  <c:v>0.0</c:v>
                </c:pt>
                <c:pt idx="2792">
                  <c:v>0.0</c:v>
                </c:pt>
                <c:pt idx="2793">
                  <c:v>0.0</c:v>
                </c:pt>
                <c:pt idx="2794">
                  <c:v>0.0</c:v>
                </c:pt>
                <c:pt idx="2795">
                  <c:v>0.0</c:v>
                </c:pt>
                <c:pt idx="2796">
                  <c:v>0.0</c:v>
                </c:pt>
                <c:pt idx="2797">
                  <c:v>0.0</c:v>
                </c:pt>
                <c:pt idx="2798">
                  <c:v>0.0</c:v>
                </c:pt>
                <c:pt idx="2799">
                  <c:v>0.0</c:v>
                </c:pt>
                <c:pt idx="2800">
                  <c:v>0.0</c:v>
                </c:pt>
                <c:pt idx="2801">
                  <c:v>0.0</c:v>
                </c:pt>
                <c:pt idx="2802">
                  <c:v>0.0</c:v>
                </c:pt>
                <c:pt idx="2803">
                  <c:v>0.0</c:v>
                </c:pt>
                <c:pt idx="2804">
                  <c:v>0.0</c:v>
                </c:pt>
                <c:pt idx="2805">
                  <c:v>0.0</c:v>
                </c:pt>
                <c:pt idx="2806">
                  <c:v>0.0</c:v>
                </c:pt>
                <c:pt idx="2807">
                  <c:v>0.0</c:v>
                </c:pt>
                <c:pt idx="2808">
                  <c:v>0.0</c:v>
                </c:pt>
                <c:pt idx="2809">
                  <c:v>0.0</c:v>
                </c:pt>
                <c:pt idx="2810">
                  <c:v>0.0</c:v>
                </c:pt>
                <c:pt idx="2811">
                  <c:v>0.0</c:v>
                </c:pt>
                <c:pt idx="2812">
                  <c:v>0.0</c:v>
                </c:pt>
                <c:pt idx="2813">
                  <c:v>0.0</c:v>
                </c:pt>
                <c:pt idx="2814">
                  <c:v>0.0</c:v>
                </c:pt>
                <c:pt idx="2815">
                  <c:v>0.0</c:v>
                </c:pt>
                <c:pt idx="2816">
                  <c:v>0.0</c:v>
                </c:pt>
                <c:pt idx="2817">
                  <c:v>0.0</c:v>
                </c:pt>
                <c:pt idx="2818">
                  <c:v>0.0</c:v>
                </c:pt>
                <c:pt idx="2819">
                  <c:v>0.0</c:v>
                </c:pt>
                <c:pt idx="2820">
                  <c:v>0.0</c:v>
                </c:pt>
                <c:pt idx="2821">
                  <c:v>0.0</c:v>
                </c:pt>
                <c:pt idx="2822">
                  <c:v>0.0</c:v>
                </c:pt>
                <c:pt idx="2823">
                  <c:v>0.0</c:v>
                </c:pt>
                <c:pt idx="2824">
                  <c:v>0.0</c:v>
                </c:pt>
                <c:pt idx="2825">
                  <c:v>0.0</c:v>
                </c:pt>
                <c:pt idx="2826">
                  <c:v>0.0</c:v>
                </c:pt>
                <c:pt idx="2827">
                  <c:v>0.0</c:v>
                </c:pt>
                <c:pt idx="2828">
                  <c:v>0.0</c:v>
                </c:pt>
                <c:pt idx="2829">
                  <c:v>0.0</c:v>
                </c:pt>
                <c:pt idx="2830">
                  <c:v>0.0</c:v>
                </c:pt>
                <c:pt idx="2831">
                  <c:v>0.0</c:v>
                </c:pt>
                <c:pt idx="2832">
                  <c:v>0.0</c:v>
                </c:pt>
                <c:pt idx="2833">
                  <c:v>0.0</c:v>
                </c:pt>
                <c:pt idx="2834">
                  <c:v>0.0</c:v>
                </c:pt>
                <c:pt idx="2835">
                  <c:v>0.0</c:v>
                </c:pt>
                <c:pt idx="2836">
                  <c:v>0.0</c:v>
                </c:pt>
                <c:pt idx="2837">
                  <c:v>0.0</c:v>
                </c:pt>
                <c:pt idx="2838">
                  <c:v>0.0</c:v>
                </c:pt>
                <c:pt idx="2839">
                  <c:v>0.0</c:v>
                </c:pt>
                <c:pt idx="2840">
                  <c:v>0.0</c:v>
                </c:pt>
                <c:pt idx="2841">
                  <c:v>0.0</c:v>
                </c:pt>
                <c:pt idx="2842">
                  <c:v>0.0</c:v>
                </c:pt>
                <c:pt idx="2843">
                  <c:v>0.0</c:v>
                </c:pt>
                <c:pt idx="2844">
                  <c:v>0.0</c:v>
                </c:pt>
                <c:pt idx="2845">
                  <c:v>0.0</c:v>
                </c:pt>
                <c:pt idx="2846">
                  <c:v>0.0</c:v>
                </c:pt>
                <c:pt idx="2847">
                  <c:v>0.0</c:v>
                </c:pt>
                <c:pt idx="2848">
                  <c:v>0.0</c:v>
                </c:pt>
                <c:pt idx="2849">
                  <c:v>0.0</c:v>
                </c:pt>
                <c:pt idx="2850">
                  <c:v>0.0</c:v>
                </c:pt>
                <c:pt idx="2851">
                  <c:v>0.0</c:v>
                </c:pt>
                <c:pt idx="2852">
                  <c:v>0.0</c:v>
                </c:pt>
                <c:pt idx="2853">
                  <c:v>0.0</c:v>
                </c:pt>
                <c:pt idx="2854">
                  <c:v>0.0</c:v>
                </c:pt>
                <c:pt idx="2855">
                  <c:v>0.0</c:v>
                </c:pt>
                <c:pt idx="2856">
                  <c:v>0.0</c:v>
                </c:pt>
                <c:pt idx="2857">
                  <c:v>0.0</c:v>
                </c:pt>
                <c:pt idx="2858">
                  <c:v>0.0</c:v>
                </c:pt>
                <c:pt idx="2859">
                  <c:v>0.0</c:v>
                </c:pt>
                <c:pt idx="2860">
                  <c:v>0.0</c:v>
                </c:pt>
                <c:pt idx="2861">
                  <c:v>0.0</c:v>
                </c:pt>
                <c:pt idx="2862">
                  <c:v>0.0</c:v>
                </c:pt>
                <c:pt idx="2863">
                  <c:v>0.0</c:v>
                </c:pt>
                <c:pt idx="2864">
                  <c:v>0.0</c:v>
                </c:pt>
                <c:pt idx="2865">
                  <c:v>0.0</c:v>
                </c:pt>
                <c:pt idx="2866">
                  <c:v>0.0</c:v>
                </c:pt>
                <c:pt idx="2867">
                  <c:v>0.0</c:v>
                </c:pt>
                <c:pt idx="2868">
                  <c:v>0.0</c:v>
                </c:pt>
                <c:pt idx="2869">
                  <c:v>0.0</c:v>
                </c:pt>
                <c:pt idx="2870">
                  <c:v>0.0</c:v>
                </c:pt>
                <c:pt idx="2871">
                  <c:v>0.0</c:v>
                </c:pt>
                <c:pt idx="2872">
                  <c:v>0.0</c:v>
                </c:pt>
                <c:pt idx="2873">
                  <c:v>0.0</c:v>
                </c:pt>
                <c:pt idx="2874">
                  <c:v>0.0</c:v>
                </c:pt>
                <c:pt idx="2875">
                  <c:v>0.0</c:v>
                </c:pt>
                <c:pt idx="2876">
                  <c:v>0.0</c:v>
                </c:pt>
                <c:pt idx="2877">
                  <c:v>0.0</c:v>
                </c:pt>
                <c:pt idx="2878">
                  <c:v>0.0</c:v>
                </c:pt>
                <c:pt idx="2879">
                  <c:v>0.0</c:v>
                </c:pt>
                <c:pt idx="2880">
                  <c:v>0.0</c:v>
                </c:pt>
                <c:pt idx="2881">
                  <c:v>0.0</c:v>
                </c:pt>
                <c:pt idx="2882">
                  <c:v>0.0</c:v>
                </c:pt>
                <c:pt idx="2883">
                  <c:v>0.0</c:v>
                </c:pt>
                <c:pt idx="2884">
                  <c:v>0.0</c:v>
                </c:pt>
                <c:pt idx="2885">
                  <c:v>0.0</c:v>
                </c:pt>
                <c:pt idx="2886">
                  <c:v>0.0</c:v>
                </c:pt>
                <c:pt idx="2887">
                  <c:v>0.0</c:v>
                </c:pt>
                <c:pt idx="2888">
                  <c:v>0.0</c:v>
                </c:pt>
                <c:pt idx="2889">
                  <c:v>0.0</c:v>
                </c:pt>
                <c:pt idx="2890">
                  <c:v>0.0</c:v>
                </c:pt>
                <c:pt idx="2891">
                  <c:v>0.0</c:v>
                </c:pt>
                <c:pt idx="2892">
                  <c:v>0.0</c:v>
                </c:pt>
                <c:pt idx="2893">
                  <c:v>0.0</c:v>
                </c:pt>
                <c:pt idx="2894">
                  <c:v>0.0</c:v>
                </c:pt>
                <c:pt idx="2895">
                  <c:v>0.0</c:v>
                </c:pt>
                <c:pt idx="2896">
                  <c:v>0.0</c:v>
                </c:pt>
                <c:pt idx="2897">
                  <c:v>0.0</c:v>
                </c:pt>
                <c:pt idx="2898">
                  <c:v>0.0</c:v>
                </c:pt>
                <c:pt idx="2899">
                  <c:v>0.0</c:v>
                </c:pt>
                <c:pt idx="2900">
                  <c:v>0.0</c:v>
                </c:pt>
                <c:pt idx="2901">
                  <c:v>0.0</c:v>
                </c:pt>
                <c:pt idx="2902">
                  <c:v>0.0</c:v>
                </c:pt>
                <c:pt idx="2903">
                  <c:v>0.0</c:v>
                </c:pt>
                <c:pt idx="2904">
                  <c:v>0.0</c:v>
                </c:pt>
                <c:pt idx="2905">
                  <c:v>0.0</c:v>
                </c:pt>
                <c:pt idx="2906">
                  <c:v>0.0</c:v>
                </c:pt>
                <c:pt idx="2907">
                  <c:v>0.0</c:v>
                </c:pt>
                <c:pt idx="2908">
                  <c:v>0.0</c:v>
                </c:pt>
                <c:pt idx="2909">
                  <c:v>0.0</c:v>
                </c:pt>
                <c:pt idx="2910">
                  <c:v>0.0</c:v>
                </c:pt>
                <c:pt idx="2911">
                  <c:v>0.0</c:v>
                </c:pt>
                <c:pt idx="2912">
                  <c:v>0.0</c:v>
                </c:pt>
                <c:pt idx="2913">
                  <c:v>0.0</c:v>
                </c:pt>
                <c:pt idx="2914">
                  <c:v>0.0</c:v>
                </c:pt>
                <c:pt idx="2915">
                  <c:v>0.0</c:v>
                </c:pt>
                <c:pt idx="2916">
                  <c:v>0.0</c:v>
                </c:pt>
                <c:pt idx="2917">
                  <c:v>0.0</c:v>
                </c:pt>
                <c:pt idx="2918">
                  <c:v>0.0</c:v>
                </c:pt>
                <c:pt idx="2919">
                  <c:v>0.0</c:v>
                </c:pt>
                <c:pt idx="2920">
                  <c:v>0.0</c:v>
                </c:pt>
                <c:pt idx="2921">
                  <c:v>0.0</c:v>
                </c:pt>
                <c:pt idx="2922">
                  <c:v>0.0</c:v>
                </c:pt>
                <c:pt idx="2923">
                  <c:v>0.0</c:v>
                </c:pt>
                <c:pt idx="2924">
                  <c:v>0.0</c:v>
                </c:pt>
                <c:pt idx="2925">
                  <c:v>0.0</c:v>
                </c:pt>
                <c:pt idx="2926">
                  <c:v>0.0</c:v>
                </c:pt>
                <c:pt idx="2927">
                  <c:v>0.0</c:v>
                </c:pt>
                <c:pt idx="2928">
                  <c:v>0.0</c:v>
                </c:pt>
                <c:pt idx="2929">
                  <c:v>0.0</c:v>
                </c:pt>
                <c:pt idx="2930">
                  <c:v>0.0</c:v>
                </c:pt>
                <c:pt idx="2931">
                  <c:v>0.0</c:v>
                </c:pt>
                <c:pt idx="2932">
                  <c:v>0.0</c:v>
                </c:pt>
                <c:pt idx="2933">
                  <c:v>0.0</c:v>
                </c:pt>
                <c:pt idx="2934">
                  <c:v>0.0</c:v>
                </c:pt>
                <c:pt idx="2935">
                  <c:v>0.0</c:v>
                </c:pt>
                <c:pt idx="2936">
                  <c:v>0.0</c:v>
                </c:pt>
                <c:pt idx="2937">
                  <c:v>0.0</c:v>
                </c:pt>
                <c:pt idx="2938">
                  <c:v>0.0</c:v>
                </c:pt>
                <c:pt idx="2939">
                  <c:v>0.0</c:v>
                </c:pt>
                <c:pt idx="2940">
                  <c:v>0.0</c:v>
                </c:pt>
                <c:pt idx="2941">
                  <c:v>0.0</c:v>
                </c:pt>
                <c:pt idx="2942">
                  <c:v>0.0</c:v>
                </c:pt>
                <c:pt idx="2943">
                  <c:v>0.0</c:v>
                </c:pt>
                <c:pt idx="2944">
                  <c:v>0.0</c:v>
                </c:pt>
                <c:pt idx="2945">
                  <c:v>0.0</c:v>
                </c:pt>
                <c:pt idx="2946">
                  <c:v>0.0</c:v>
                </c:pt>
                <c:pt idx="2947">
                  <c:v>0.0</c:v>
                </c:pt>
                <c:pt idx="2948">
                  <c:v>0.0</c:v>
                </c:pt>
                <c:pt idx="2949">
                  <c:v>0.0</c:v>
                </c:pt>
                <c:pt idx="2950">
                  <c:v>0.0</c:v>
                </c:pt>
                <c:pt idx="2951">
                  <c:v>0.0</c:v>
                </c:pt>
                <c:pt idx="2952">
                  <c:v>0.0</c:v>
                </c:pt>
                <c:pt idx="2953">
                  <c:v>0.0</c:v>
                </c:pt>
                <c:pt idx="2954">
                  <c:v>0.0</c:v>
                </c:pt>
                <c:pt idx="2955">
                  <c:v>0.0</c:v>
                </c:pt>
                <c:pt idx="2956">
                  <c:v>0.0</c:v>
                </c:pt>
                <c:pt idx="2957">
                  <c:v>0.0</c:v>
                </c:pt>
                <c:pt idx="2958">
                  <c:v>0.0</c:v>
                </c:pt>
                <c:pt idx="2959">
                  <c:v>0.0</c:v>
                </c:pt>
                <c:pt idx="2960">
                  <c:v>0.0</c:v>
                </c:pt>
                <c:pt idx="2961">
                  <c:v>0.0</c:v>
                </c:pt>
                <c:pt idx="2962">
                  <c:v>0.0</c:v>
                </c:pt>
                <c:pt idx="2963">
                  <c:v>0.0</c:v>
                </c:pt>
                <c:pt idx="2964">
                  <c:v>0.0</c:v>
                </c:pt>
                <c:pt idx="2965">
                  <c:v>0.0</c:v>
                </c:pt>
                <c:pt idx="2966">
                  <c:v>0.0</c:v>
                </c:pt>
                <c:pt idx="2967">
                  <c:v>0.0</c:v>
                </c:pt>
                <c:pt idx="2968">
                  <c:v>0.0</c:v>
                </c:pt>
                <c:pt idx="2969">
                  <c:v>0.0</c:v>
                </c:pt>
                <c:pt idx="2970">
                  <c:v>0.0</c:v>
                </c:pt>
                <c:pt idx="2971">
                  <c:v>0.0</c:v>
                </c:pt>
                <c:pt idx="2972">
                  <c:v>0.0</c:v>
                </c:pt>
                <c:pt idx="2973">
                  <c:v>0.0</c:v>
                </c:pt>
                <c:pt idx="2974">
                  <c:v>0.0</c:v>
                </c:pt>
                <c:pt idx="2975">
                  <c:v>0.0</c:v>
                </c:pt>
                <c:pt idx="2976">
                  <c:v>0.0</c:v>
                </c:pt>
                <c:pt idx="2977">
                  <c:v>0.0</c:v>
                </c:pt>
                <c:pt idx="2978">
                  <c:v>0.0</c:v>
                </c:pt>
                <c:pt idx="2979">
                  <c:v>0.0</c:v>
                </c:pt>
                <c:pt idx="2980">
                  <c:v>0.0</c:v>
                </c:pt>
                <c:pt idx="2981">
                  <c:v>0.0</c:v>
                </c:pt>
                <c:pt idx="2982">
                  <c:v>0.0</c:v>
                </c:pt>
                <c:pt idx="2983">
                  <c:v>0.0</c:v>
                </c:pt>
                <c:pt idx="2984">
                  <c:v>0.0</c:v>
                </c:pt>
                <c:pt idx="2985">
                  <c:v>0.0</c:v>
                </c:pt>
                <c:pt idx="2986">
                  <c:v>0.0</c:v>
                </c:pt>
                <c:pt idx="2987">
                  <c:v>0.0</c:v>
                </c:pt>
                <c:pt idx="2988">
                  <c:v>0.0</c:v>
                </c:pt>
                <c:pt idx="2989">
                  <c:v>0.0</c:v>
                </c:pt>
                <c:pt idx="2990">
                  <c:v>0.0</c:v>
                </c:pt>
                <c:pt idx="2991">
                  <c:v>0.0</c:v>
                </c:pt>
                <c:pt idx="2992">
                  <c:v>0.0</c:v>
                </c:pt>
                <c:pt idx="2993">
                  <c:v>0.0</c:v>
                </c:pt>
                <c:pt idx="2994">
                  <c:v>0.0</c:v>
                </c:pt>
                <c:pt idx="2995">
                  <c:v>0.0</c:v>
                </c:pt>
                <c:pt idx="2996">
                  <c:v>0.0</c:v>
                </c:pt>
                <c:pt idx="2997">
                  <c:v>0.0</c:v>
                </c:pt>
                <c:pt idx="2998">
                  <c:v>0.0</c:v>
                </c:pt>
                <c:pt idx="2999">
                  <c:v>0.0</c:v>
                </c:pt>
                <c:pt idx="3000">
                  <c:v>0.0</c:v>
                </c:pt>
                <c:pt idx="3001">
                  <c:v>0.0</c:v>
                </c:pt>
                <c:pt idx="3002">
                  <c:v>0.0</c:v>
                </c:pt>
                <c:pt idx="3003">
                  <c:v>0.0</c:v>
                </c:pt>
                <c:pt idx="3004">
                  <c:v>0.0</c:v>
                </c:pt>
                <c:pt idx="3005">
                  <c:v>0.0</c:v>
                </c:pt>
                <c:pt idx="3006">
                  <c:v>0.0</c:v>
                </c:pt>
                <c:pt idx="3007">
                  <c:v>0.0</c:v>
                </c:pt>
                <c:pt idx="3008">
                  <c:v>0.0</c:v>
                </c:pt>
                <c:pt idx="3009">
                  <c:v>0.0</c:v>
                </c:pt>
                <c:pt idx="3010">
                  <c:v>0.0</c:v>
                </c:pt>
                <c:pt idx="3011">
                  <c:v>0.0</c:v>
                </c:pt>
                <c:pt idx="3012">
                  <c:v>0.0</c:v>
                </c:pt>
                <c:pt idx="3013">
                  <c:v>0.0</c:v>
                </c:pt>
                <c:pt idx="3014">
                  <c:v>0.0</c:v>
                </c:pt>
                <c:pt idx="3015">
                  <c:v>0.0</c:v>
                </c:pt>
                <c:pt idx="3016">
                  <c:v>0.0</c:v>
                </c:pt>
                <c:pt idx="3017">
                  <c:v>0.0</c:v>
                </c:pt>
                <c:pt idx="3018">
                  <c:v>0.0</c:v>
                </c:pt>
                <c:pt idx="3019">
                  <c:v>0.0</c:v>
                </c:pt>
                <c:pt idx="3020">
                  <c:v>0.0</c:v>
                </c:pt>
                <c:pt idx="3021">
                  <c:v>0.0</c:v>
                </c:pt>
                <c:pt idx="3022">
                  <c:v>0.0</c:v>
                </c:pt>
                <c:pt idx="3023">
                  <c:v>0.0</c:v>
                </c:pt>
                <c:pt idx="3024">
                  <c:v>0.0</c:v>
                </c:pt>
                <c:pt idx="3025">
                  <c:v>0.0</c:v>
                </c:pt>
                <c:pt idx="3026">
                  <c:v>0.0</c:v>
                </c:pt>
                <c:pt idx="3027">
                  <c:v>0.0</c:v>
                </c:pt>
                <c:pt idx="3028">
                  <c:v>0.0</c:v>
                </c:pt>
                <c:pt idx="3029">
                  <c:v>0.0</c:v>
                </c:pt>
                <c:pt idx="3030">
                  <c:v>0.0</c:v>
                </c:pt>
                <c:pt idx="3031">
                  <c:v>0.0</c:v>
                </c:pt>
                <c:pt idx="3032">
                  <c:v>0.0</c:v>
                </c:pt>
                <c:pt idx="3033">
                  <c:v>0.0</c:v>
                </c:pt>
                <c:pt idx="3034">
                  <c:v>0.0</c:v>
                </c:pt>
                <c:pt idx="3035">
                  <c:v>0.0</c:v>
                </c:pt>
                <c:pt idx="3036">
                  <c:v>0.0</c:v>
                </c:pt>
                <c:pt idx="3037">
                  <c:v>0.0</c:v>
                </c:pt>
                <c:pt idx="3038">
                  <c:v>0.0</c:v>
                </c:pt>
                <c:pt idx="3039">
                  <c:v>0.0</c:v>
                </c:pt>
                <c:pt idx="3040">
                  <c:v>0.0</c:v>
                </c:pt>
                <c:pt idx="3041">
                  <c:v>0.0</c:v>
                </c:pt>
                <c:pt idx="3042">
                  <c:v>0.0</c:v>
                </c:pt>
                <c:pt idx="3043">
                  <c:v>0.0</c:v>
                </c:pt>
                <c:pt idx="3044">
                  <c:v>0.0</c:v>
                </c:pt>
                <c:pt idx="3045">
                  <c:v>0.0</c:v>
                </c:pt>
                <c:pt idx="3046">
                  <c:v>0.0</c:v>
                </c:pt>
                <c:pt idx="3047">
                  <c:v>0.0</c:v>
                </c:pt>
                <c:pt idx="3048">
                  <c:v>0.0</c:v>
                </c:pt>
                <c:pt idx="3049">
                  <c:v>0.0</c:v>
                </c:pt>
                <c:pt idx="3050">
                  <c:v>0.0</c:v>
                </c:pt>
                <c:pt idx="3051">
                  <c:v>0.0</c:v>
                </c:pt>
                <c:pt idx="3052">
                  <c:v>0.0</c:v>
                </c:pt>
                <c:pt idx="3053">
                  <c:v>0.0</c:v>
                </c:pt>
                <c:pt idx="3054">
                  <c:v>0.0</c:v>
                </c:pt>
                <c:pt idx="3055">
                  <c:v>0.0</c:v>
                </c:pt>
                <c:pt idx="3056">
                  <c:v>0.0</c:v>
                </c:pt>
                <c:pt idx="3057">
                  <c:v>0.0</c:v>
                </c:pt>
                <c:pt idx="3058">
                  <c:v>0.0</c:v>
                </c:pt>
                <c:pt idx="3059">
                  <c:v>0.0</c:v>
                </c:pt>
                <c:pt idx="3060">
                  <c:v>0.0</c:v>
                </c:pt>
                <c:pt idx="3061">
                  <c:v>0.0</c:v>
                </c:pt>
                <c:pt idx="3062">
                  <c:v>0.0</c:v>
                </c:pt>
                <c:pt idx="3063">
                  <c:v>0.0</c:v>
                </c:pt>
                <c:pt idx="3064">
                  <c:v>0.0</c:v>
                </c:pt>
                <c:pt idx="3065">
                  <c:v>0.0</c:v>
                </c:pt>
                <c:pt idx="3066">
                  <c:v>0.0</c:v>
                </c:pt>
                <c:pt idx="3067">
                  <c:v>0.0</c:v>
                </c:pt>
                <c:pt idx="3068">
                  <c:v>0.0</c:v>
                </c:pt>
                <c:pt idx="3069">
                  <c:v>0.0</c:v>
                </c:pt>
                <c:pt idx="3070">
                  <c:v>0.0</c:v>
                </c:pt>
                <c:pt idx="3071">
                  <c:v>0.0</c:v>
                </c:pt>
                <c:pt idx="3072">
                  <c:v>0.0</c:v>
                </c:pt>
                <c:pt idx="3073">
                  <c:v>0.0</c:v>
                </c:pt>
                <c:pt idx="3074">
                  <c:v>0.0</c:v>
                </c:pt>
                <c:pt idx="3075">
                  <c:v>0.0</c:v>
                </c:pt>
                <c:pt idx="3076">
                  <c:v>0.0</c:v>
                </c:pt>
                <c:pt idx="3077">
                  <c:v>0.0</c:v>
                </c:pt>
                <c:pt idx="3078">
                  <c:v>0.0</c:v>
                </c:pt>
                <c:pt idx="3079">
                  <c:v>0.0</c:v>
                </c:pt>
                <c:pt idx="3080">
                  <c:v>0.0</c:v>
                </c:pt>
                <c:pt idx="3081">
                  <c:v>0.0</c:v>
                </c:pt>
                <c:pt idx="3082">
                  <c:v>0.0</c:v>
                </c:pt>
                <c:pt idx="3083">
                  <c:v>0.0</c:v>
                </c:pt>
                <c:pt idx="3084">
                  <c:v>0.0</c:v>
                </c:pt>
                <c:pt idx="3085">
                  <c:v>0.0</c:v>
                </c:pt>
                <c:pt idx="3086">
                  <c:v>0.0</c:v>
                </c:pt>
                <c:pt idx="3087">
                  <c:v>0.0</c:v>
                </c:pt>
                <c:pt idx="3088">
                  <c:v>0.0</c:v>
                </c:pt>
                <c:pt idx="3089">
                  <c:v>0.0</c:v>
                </c:pt>
                <c:pt idx="3090">
                  <c:v>0.0</c:v>
                </c:pt>
                <c:pt idx="3091">
                  <c:v>0.0</c:v>
                </c:pt>
                <c:pt idx="3092">
                  <c:v>0.0</c:v>
                </c:pt>
                <c:pt idx="3093">
                  <c:v>0.0</c:v>
                </c:pt>
                <c:pt idx="3094">
                  <c:v>0.0</c:v>
                </c:pt>
                <c:pt idx="3095">
                  <c:v>0.0</c:v>
                </c:pt>
                <c:pt idx="3096">
                  <c:v>0.0</c:v>
                </c:pt>
                <c:pt idx="3097">
                  <c:v>0.0</c:v>
                </c:pt>
                <c:pt idx="3098">
                  <c:v>0.0</c:v>
                </c:pt>
                <c:pt idx="3099">
                  <c:v>0.0</c:v>
                </c:pt>
                <c:pt idx="3100">
                  <c:v>0.0</c:v>
                </c:pt>
                <c:pt idx="3101">
                  <c:v>0.0</c:v>
                </c:pt>
                <c:pt idx="3102">
                  <c:v>0.0</c:v>
                </c:pt>
                <c:pt idx="3103">
                  <c:v>0.0</c:v>
                </c:pt>
                <c:pt idx="3104">
                  <c:v>0.0</c:v>
                </c:pt>
                <c:pt idx="3105">
                  <c:v>0.0</c:v>
                </c:pt>
                <c:pt idx="3106">
                  <c:v>0.0</c:v>
                </c:pt>
                <c:pt idx="3107">
                  <c:v>0.0</c:v>
                </c:pt>
                <c:pt idx="3108">
                  <c:v>0.0</c:v>
                </c:pt>
                <c:pt idx="3109">
                  <c:v>0.0</c:v>
                </c:pt>
                <c:pt idx="3110">
                  <c:v>0.0</c:v>
                </c:pt>
                <c:pt idx="3111">
                  <c:v>0.0</c:v>
                </c:pt>
                <c:pt idx="3112">
                  <c:v>0.0</c:v>
                </c:pt>
                <c:pt idx="3113">
                  <c:v>0.0</c:v>
                </c:pt>
                <c:pt idx="3114">
                  <c:v>0.0</c:v>
                </c:pt>
                <c:pt idx="3115">
                  <c:v>0.0</c:v>
                </c:pt>
                <c:pt idx="3116">
                  <c:v>0.0</c:v>
                </c:pt>
                <c:pt idx="3117">
                  <c:v>0.0</c:v>
                </c:pt>
                <c:pt idx="3118">
                  <c:v>0.0</c:v>
                </c:pt>
                <c:pt idx="3119">
                  <c:v>0.0</c:v>
                </c:pt>
                <c:pt idx="3120">
                  <c:v>0.0</c:v>
                </c:pt>
                <c:pt idx="3121">
                  <c:v>0.0</c:v>
                </c:pt>
                <c:pt idx="3122">
                  <c:v>0.0</c:v>
                </c:pt>
                <c:pt idx="3123">
                  <c:v>0.0</c:v>
                </c:pt>
                <c:pt idx="3124">
                  <c:v>0.0</c:v>
                </c:pt>
                <c:pt idx="3125">
                  <c:v>0.0</c:v>
                </c:pt>
                <c:pt idx="3126">
                  <c:v>0.0</c:v>
                </c:pt>
                <c:pt idx="3127">
                  <c:v>0.0</c:v>
                </c:pt>
                <c:pt idx="3128">
                  <c:v>0.0</c:v>
                </c:pt>
                <c:pt idx="3129">
                  <c:v>0.0</c:v>
                </c:pt>
                <c:pt idx="3130">
                  <c:v>0.0</c:v>
                </c:pt>
                <c:pt idx="3131">
                  <c:v>0.0</c:v>
                </c:pt>
                <c:pt idx="3132">
                  <c:v>0.0</c:v>
                </c:pt>
                <c:pt idx="3133">
                  <c:v>0.0</c:v>
                </c:pt>
                <c:pt idx="3134">
                  <c:v>0.0</c:v>
                </c:pt>
                <c:pt idx="3135">
                  <c:v>0.0</c:v>
                </c:pt>
                <c:pt idx="3136">
                  <c:v>0.0</c:v>
                </c:pt>
                <c:pt idx="3137">
                  <c:v>0.0</c:v>
                </c:pt>
                <c:pt idx="3138">
                  <c:v>0.0</c:v>
                </c:pt>
                <c:pt idx="3139">
                  <c:v>0.0</c:v>
                </c:pt>
                <c:pt idx="3140">
                  <c:v>0.0</c:v>
                </c:pt>
                <c:pt idx="3141">
                  <c:v>0.0</c:v>
                </c:pt>
                <c:pt idx="3142">
                  <c:v>0.0</c:v>
                </c:pt>
                <c:pt idx="3143">
                  <c:v>0.0</c:v>
                </c:pt>
                <c:pt idx="3144">
                  <c:v>0.0</c:v>
                </c:pt>
                <c:pt idx="3145">
                  <c:v>0.0</c:v>
                </c:pt>
                <c:pt idx="3146">
                  <c:v>0.0</c:v>
                </c:pt>
                <c:pt idx="3147">
                  <c:v>0.0</c:v>
                </c:pt>
                <c:pt idx="3148">
                  <c:v>0.0</c:v>
                </c:pt>
                <c:pt idx="3149">
                  <c:v>0.0</c:v>
                </c:pt>
                <c:pt idx="3150">
                  <c:v>0.0</c:v>
                </c:pt>
                <c:pt idx="3151">
                  <c:v>0.0</c:v>
                </c:pt>
                <c:pt idx="3152">
                  <c:v>0.0</c:v>
                </c:pt>
                <c:pt idx="3153">
                  <c:v>0.0</c:v>
                </c:pt>
                <c:pt idx="3154">
                  <c:v>0.0</c:v>
                </c:pt>
                <c:pt idx="3155">
                  <c:v>0.0</c:v>
                </c:pt>
                <c:pt idx="3156">
                  <c:v>0.0</c:v>
                </c:pt>
                <c:pt idx="3157">
                  <c:v>0.0</c:v>
                </c:pt>
                <c:pt idx="3158">
                  <c:v>0.0</c:v>
                </c:pt>
                <c:pt idx="3159">
                  <c:v>0.0</c:v>
                </c:pt>
                <c:pt idx="3160">
                  <c:v>0.0</c:v>
                </c:pt>
                <c:pt idx="3161">
                  <c:v>0.0</c:v>
                </c:pt>
                <c:pt idx="3162">
                  <c:v>0.0</c:v>
                </c:pt>
                <c:pt idx="3163">
                  <c:v>0.0</c:v>
                </c:pt>
                <c:pt idx="3164">
                  <c:v>0.0</c:v>
                </c:pt>
                <c:pt idx="3165">
                  <c:v>0.0</c:v>
                </c:pt>
                <c:pt idx="3166">
                  <c:v>0.0</c:v>
                </c:pt>
                <c:pt idx="3167">
                  <c:v>0.0</c:v>
                </c:pt>
                <c:pt idx="3168">
                  <c:v>0.0</c:v>
                </c:pt>
                <c:pt idx="3169">
                  <c:v>0.0</c:v>
                </c:pt>
                <c:pt idx="3170">
                  <c:v>0.0</c:v>
                </c:pt>
                <c:pt idx="3171">
                  <c:v>0.0</c:v>
                </c:pt>
                <c:pt idx="3172">
                  <c:v>0.0</c:v>
                </c:pt>
                <c:pt idx="3173">
                  <c:v>0.0</c:v>
                </c:pt>
                <c:pt idx="3174">
                  <c:v>0.0</c:v>
                </c:pt>
                <c:pt idx="3175">
                  <c:v>0.0</c:v>
                </c:pt>
                <c:pt idx="3176">
                  <c:v>0.0</c:v>
                </c:pt>
                <c:pt idx="3177">
                  <c:v>0.0</c:v>
                </c:pt>
                <c:pt idx="3178">
                  <c:v>0.0</c:v>
                </c:pt>
                <c:pt idx="3179">
                  <c:v>0.0</c:v>
                </c:pt>
                <c:pt idx="3180">
                  <c:v>0.0</c:v>
                </c:pt>
                <c:pt idx="3181">
                  <c:v>0.0</c:v>
                </c:pt>
                <c:pt idx="3182">
                  <c:v>0.0</c:v>
                </c:pt>
                <c:pt idx="3183">
                  <c:v>0.0</c:v>
                </c:pt>
                <c:pt idx="3184">
                  <c:v>0.0</c:v>
                </c:pt>
                <c:pt idx="3185">
                  <c:v>0.0</c:v>
                </c:pt>
                <c:pt idx="3186">
                  <c:v>0.0</c:v>
                </c:pt>
                <c:pt idx="3187">
                  <c:v>0.0</c:v>
                </c:pt>
                <c:pt idx="3188">
                  <c:v>0.0</c:v>
                </c:pt>
                <c:pt idx="3189">
                  <c:v>0.0</c:v>
                </c:pt>
                <c:pt idx="3190">
                  <c:v>0.0</c:v>
                </c:pt>
                <c:pt idx="3191">
                  <c:v>0.0</c:v>
                </c:pt>
                <c:pt idx="3192">
                  <c:v>0.0</c:v>
                </c:pt>
                <c:pt idx="3193">
                  <c:v>0.0</c:v>
                </c:pt>
                <c:pt idx="3194">
                  <c:v>0.0</c:v>
                </c:pt>
                <c:pt idx="3195">
                  <c:v>0.0</c:v>
                </c:pt>
                <c:pt idx="3196">
                  <c:v>0.0</c:v>
                </c:pt>
                <c:pt idx="3197">
                  <c:v>0.0</c:v>
                </c:pt>
                <c:pt idx="3198">
                  <c:v>0.0</c:v>
                </c:pt>
                <c:pt idx="3199">
                  <c:v>0.0</c:v>
                </c:pt>
                <c:pt idx="3200">
                  <c:v>0.0</c:v>
                </c:pt>
                <c:pt idx="3201">
                  <c:v>0.0</c:v>
                </c:pt>
                <c:pt idx="3202">
                  <c:v>0.0</c:v>
                </c:pt>
                <c:pt idx="3203">
                  <c:v>0.0</c:v>
                </c:pt>
                <c:pt idx="3204">
                  <c:v>0.0</c:v>
                </c:pt>
                <c:pt idx="3205">
                  <c:v>0.0</c:v>
                </c:pt>
                <c:pt idx="3206">
                  <c:v>0.0</c:v>
                </c:pt>
                <c:pt idx="3207">
                  <c:v>0.0</c:v>
                </c:pt>
                <c:pt idx="3208">
                  <c:v>0.0</c:v>
                </c:pt>
                <c:pt idx="3209">
                  <c:v>0.0</c:v>
                </c:pt>
                <c:pt idx="3210">
                  <c:v>0.0</c:v>
                </c:pt>
                <c:pt idx="3211">
                  <c:v>0.0</c:v>
                </c:pt>
                <c:pt idx="3212">
                  <c:v>0.0</c:v>
                </c:pt>
                <c:pt idx="3213">
                  <c:v>0.0</c:v>
                </c:pt>
                <c:pt idx="3214">
                  <c:v>0.0</c:v>
                </c:pt>
                <c:pt idx="3215">
                  <c:v>0.0</c:v>
                </c:pt>
                <c:pt idx="3216">
                  <c:v>0.0</c:v>
                </c:pt>
                <c:pt idx="3217">
                  <c:v>0.0</c:v>
                </c:pt>
                <c:pt idx="3218">
                  <c:v>0.0</c:v>
                </c:pt>
                <c:pt idx="3219">
                  <c:v>0.0</c:v>
                </c:pt>
                <c:pt idx="3220">
                  <c:v>0.0</c:v>
                </c:pt>
                <c:pt idx="3221">
                  <c:v>0.0</c:v>
                </c:pt>
                <c:pt idx="3222">
                  <c:v>0.0</c:v>
                </c:pt>
                <c:pt idx="3223">
                  <c:v>0.0</c:v>
                </c:pt>
                <c:pt idx="3224">
                  <c:v>0.0</c:v>
                </c:pt>
                <c:pt idx="3225">
                  <c:v>0.0</c:v>
                </c:pt>
                <c:pt idx="3226">
                  <c:v>0.0</c:v>
                </c:pt>
                <c:pt idx="3227">
                  <c:v>0.0</c:v>
                </c:pt>
                <c:pt idx="3228">
                  <c:v>0.0</c:v>
                </c:pt>
                <c:pt idx="3229">
                  <c:v>0.0</c:v>
                </c:pt>
                <c:pt idx="3230">
                  <c:v>0.0</c:v>
                </c:pt>
                <c:pt idx="3231">
                  <c:v>0.0</c:v>
                </c:pt>
                <c:pt idx="3232">
                  <c:v>0.0</c:v>
                </c:pt>
                <c:pt idx="3233">
                  <c:v>0.0</c:v>
                </c:pt>
                <c:pt idx="3234">
                  <c:v>0.0</c:v>
                </c:pt>
                <c:pt idx="3235">
                  <c:v>0.0</c:v>
                </c:pt>
                <c:pt idx="3236">
                  <c:v>0.0</c:v>
                </c:pt>
                <c:pt idx="3237">
                  <c:v>0.0</c:v>
                </c:pt>
                <c:pt idx="3238">
                  <c:v>0.0</c:v>
                </c:pt>
                <c:pt idx="3239">
                  <c:v>0.0</c:v>
                </c:pt>
                <c:pt idx="3240">
                  <c:v>0.0</c:v>
                </c:pt>
                <c:pt idx="3241">
                  <c:v>0.0</c:v>
                </c:pt>
                <c:pt idx="3242">
                  <c:v>0.0</c:v>
                </c:pt>
                <c:pt idx="3243">
                  <c:v>0.0</c:v>
                </c:pt>
                <c:pt idx="3244">
                  <c:v>0.0</c:v>
                </c:pt>
                <c:pt idx="3245">
                  <c:v>0.0</c:v>
                </c:pt>
                <c:pt idx="3246">
                  <c:v>0.0</c:v>
                </c:pt>
                <c:pt idx="3247">
                  <c:v>0.0</c:v>
                </c:pt>
                <c:pt idx="3248">
                  <c:v>0.0</c:v>
                </c:pt>
                <c:pt idx="3249">
                  <c:v>0.0</c:v>
                </c:pt>
                <c:pt idx="3250">
                  <c:v>0.0</c:v>
                </c:pt>
                <c:pt idx="3251">
                  <c:v>0.0</c:v>
                </c:pt>
                <c:pt idx="3252">
                  <c:v>0.0</c:v>
                </c:pt>
                <c:pt idx="3253">
                  <c:v>0.0</c:v>
                </c:pt>
                <c:pt idx="3254">
                  <c:v>0.0</c:v>
                </c:pt>
                <c:pt idx="3255">
                  <c:v>0.0</c:v>
                </c:pt>
                <c:pt idx="3256">
                  <c:v>0.0</c:v>
                </c:pt>
                <c:pt idx="3257">
                  <c:v>0.0</c:v>
                </c:pt>
                <c:pt idx="3258">
                  <c:v>0.0</c:v>
                </c:pt>
                <c:pt idx="3259">
                  <c:v>0.0</c:v>
                </c:pt>
                <c:pt idx="3260">
                  <c:v>0.0</c:v>
                </c:pt>
                <c:pt idx="3261">
                  <c:v>0.0</c:v>
                </c:pt>
                <c:pt idx="3262">
                  <c:v>0.0</c:v>
                </c:pt>
                <c:pt idx="3263">
                  <c:v>0.0</c:v>
                </c:pt>
                <c:pt idx="3264">
                  <c:v>0.0</c:v>
                </c:pt>
                <c:pt idx="3265">
                  <c:v>0.0</c:v>
                </c:pt>
                <c:pt idx="3266">
                  <c:v>0.0</c:v>
                </c:pt>
                <c:pt idx="3267">
                  <c:v>0.0</c:v>
                </c:pt>
                <c:pt idx="3268">
                  <c:v>0.0</c:v>
                </c:pt>
                <c:pt idx="3269">
                  <c:v>0.0</c:v>
                </c:pt>
                <c:pt idx="3270">
                  <c:v>0.0</c:v>
                </c:pt>
                <c:pt idx="3271">
                  <c:v>0.0</c:v>
                </c:pt>
                <c:pt idx="3272">
                  <c:v>0.0</c:v>
                </c:pt>
                <c:pt idx="3273">
                  <c:v>0.0</c:v>
                </c:pt>
                <c:pt idx="3274">
                  <c:v>0.0</c:v>
                </c:pt>
                <c:pt idx="3275">
                  <c:v>0.0</c:v>
                </c:pt>
                <c:pt idx="3276">
                  <c:v>0.0</c:v>
                </c:pt>
                <c:pt idx="3277">
                  <c:v>0.0</c:v>
                </c:pt>
                <c:pt idx="3278">
                  <c:v>0.0</c:v>
                </c:pt>
                <c:pt idx="3279">
                  <c:v>0.0</c:v>
                </c:pt>
                <c:pt idx="3280">
                  <c:v>0.0</c:v>
                </c:pt>
                <c:pt idx="3281">
                  <c:v>0.0</c:v>
                </c:pt>
                <c:pt idx="3282">
                  <c:v>0.0</c:v>
                </c:pt>
                <c:pt idx="3283">
                  <c:v>0.0</c:v>
                </c:pt>
                <c:pt idx="3284">
                  <c:v>0.0</c:v>
                </c:pt>
                <c:pt idx="3285">
                  <c:v>0.0</c:v>
                </c:pt>
                <c:pt idx="3286">
                  <c:v>0.0</c:v>
                </c:pt>
                <c:pt idx="3287">
                  <c:v>0.0</c:v>
                </c:pt>
                <c:pt idx="3288">
                  <c:v>0.0</c:v>
                </c:pt>
                <c:pt idx="3289">
                  <c:v>0.0</c:v>
                </c:pt>
                <c:pt idx="3290">
                  <c:v>0.0</c:v>
                </c:pt>
                <c:pt idx="3291">
                  <c:v>0.0</c:v>
                </c:pt>
                <c:pt idx="3292">
                  <c:v>0.0</c:v>
                </c:pt>
                <c:pt idx="3293">
                  <c:v>0.0</c:v>
                </c:pt>
                <c:pt idx="3294">
                  <c:v>0.0</c:v>
                </c:pt>
                <c:pt idx="3295">
                  <c:v>0.0</c:v>
                </c:pt>
                <c:pt idx="3296">
                  <c:v>0.0</c:v>
                </c:pt>
                <c:pt idx="3297">
                  <c:v>0.0</c:v>
                </c:pt>
                <c:pt idx="3298">
                  <c:v>0.0</c:v>
                </c:pt>
                <c:pt idx="3299">
                  <c:v>0.0</c:v>
                </c:pt>
                <c:pt idx="3300">
                  <c:v>0.0</c:v>
                </c:pt>
                <c:pt idx="3301">
                  <c:v>0.0</c:v>
                </c:pt>
                <c:pt idx="3302">
                  <c:v>0.0</c:v>
                </c:pt>
                <c:pt idx="3303">
                  <c:v>0.0</c:v>
                </c:pt>
                <c:pt idx="3304">
                  <c:v>0.0</c:v>
                </c:pt>
                <c:pt idx="3305">
                  <c:v>0.0</c:v>
                </c:pt>
                <c:pt idx="3306">
                  <c:v>0.0</c:v>
                </c:pt>
                <c:pt idx="3307">
                  <c:v>0.0</c:v>
                </c:pt>
                <c:pt idx="3308">
                  <c:v>0.0</c:v>
                </c:pt>
                <c:pt idx="3309">
                  <c:v>0.0</c:v>
                </c:pt>
                <c:pt idx="3310">
                  <c:v>0.0</c:v>
                </c:pt>
                <c:pt idx="3311">
                  <c:v>0.0</c:v>
                </c:pt>
                <c:pt idx="3312">
                  <c:v>0.0</c:v>
                </c:pt>
                <c:pt idx="3313">
                  <c:v>0.0</c:v>
                </c:pt>
                <c:pt idx="3314">
                  <c:v>0.0</c:v>
                </c:pt>
                <c:pt idx="3315">
                  <c:v>0.0</c:v>
                </c:pt>
                <c:pt idx="3316">
                  <c:v>0.0</c:v>
                </c:pt>
                <c:pt idx="3317">
                  <c:v>0.0</c:v>
                </c:pt>
                <c:pt idx="3318">
                  <c:v>0.0</c:v>
                </c:pt>
                <c:pt idx="3319">
                  <c:v>0.0</c:v>
                </c:pt>
                <c:pt idx="3320">
                  <c:v>0.0</c:v>
                </c:pt>
                <c:pt idx="3321">
                  <c:v>0.0</c:v>
                </c:pt>
                <c:pt idx="3322">
                  <c:v>0.0</c:v>
                </c:pt>
                <c:pt idx="3323">
                  <c:v>0.0</c:v>
                </c:pt>
                <c:pt idx="3324">
                  <c:v>0.0</c:v>
                </c:pt>
                <c:pt idx="3325">
                  <c:v>0.0</c:v>
                </c:pt>
                <c:pt idx="3326">
                  <c:v>0.0</c:v>
                </c:pt>
                <c:pt idx="3327">
                  <c:v>0.0</c:v>
                </c:pt>
                <c:pt idx="3328">
                  <c:v>0.0</c:v>
                </c:pt>
                <c:pt idx="3329">
                  <c:v>0.0</c:v>
                </c:pt>
                <c:pt idx="3330">
                  <c:v>0.0</c:v>
                </c:pt>
                <c:pt idx="3331">
                  <c:v>0.0</c:v>
                </c:pt>
                <c:pt idx="3332">
                  <c:v>0.0</c:v>
                </c:pt>
                <c:pt idx="3333">
                  <c:v>0.0</c:v>
                </c:pt>
                <c:pt idx="3334">
                  <c:v>0.0</c:v>
                </c:pt>
                <c:pt idx="3335">
                  <c:v>0.0</c:v>
                </c:pt>
                <c:pt idx="3336">
                  <c:v>0.0</c:v>
                </c:pt>
                <c:pt idx="3337">
                  <c:v>0.0</c:v>
                </c:pt>
                <c:pt idx="3338">
                  <c:v>0.0</c:v>
                </c:pt>
                <c:pt idx="3339">
                  <c:v>0.0</c:v>
                </c:pt>
                <c:pt idx="3340">
                  <c:v>0.0</c:v>
                </c:pt>
                <c:pt idx="3341">
                  <c:v>0.0</c:v>
                </c:pt>
                <c:pt idx="3342">
                  <c:v>0.0</c:v>
                </c:pt>
                <c:pt idx="3343">
                  <c:v>0.0</c:v>
                </c:pt>
                <c:pt idx="3344">
                  <c:v>0.0</c:v>
                </c:pt>
                <c:pt idx="3345">
                  <c:v>0.0</c:v>
                </c:pt>
                <c:pt idx="3346">
                  <c:v>0.0</c:v>
                </c:pt>
                <c:pt idx="3347">
                  <c:v>0.0</c:v>
                </c:pt>
                <c:pt idx="3348">
                  <c:v>0.0</c:v>
                </c:pt>
                <c:pt idx="3349">
                  <c:v>0.0</c:v>
                </c:pt>
                <c:pt idx="3350">
                  <c:v>0.0</c:v>
                </c:pt>
                <c:pt idx="3351">
                  <c:v>0.0</c:v>
                </c:pt>
                <c:pt idx="3352">
                  <c:v>0.0</c:v>
                </c:pt>
                <c:pt idx="3353">
                  <c:v>0.0</c:v>
                </c:pt>
                <c:pt idx="3354">
                  <c:v>0.0</c:v>
                </c:pt>
                <c:pt idx="3355">
                  <c:v>0.0</c:v>
                </c:pt>
                <c:pt idx="3356">
                  <c:v>0.0</c:v>
                </c:pt>
                <c:pt idx="3357">
                  <c:v>0.0</c:v>
                </c:pt>
                <c:pt idx="3358">
                  <c:v>0.0</c:v>
                </c:pt>
                <c:pt idx="3359">
                  <c:v>0.0</c:v>
                </c:pt>
                <c:pt idx="3360">
                  <c:v>0.0</c:v>
                </c:pt>
                <c:pt idx="3361">
                  <c:v>0.0</c:v>
                </c:pt>
                <c:pt idx="3362">
                  <c:v>0.0</c:v>
                </c:pt>
                <c:pt idx="3363">
                  <c:v>0.0</c:v>
                </c:pt>
                <c:pt idx="3364">
                  <c:v>0.0</c:v>
                </c:pt>
                <c:pt idx="3365">
                  <c:v>0.0</c:v>
                </c:pt>
                <c:pt idx="3366">
                  <c:v>0.0</c:v>
                </c:pt>
                <c:pt idx="3367">
                  <c:v>0.0</c:v>
                </c:pt>
                <c:pt idx="3368">
                  <c:v>0.0</c:v>
                </c:pt>
                <c:pt idx="3369">
                  <c:v>0.0</c:v>
                </c:pt>
                <c:pt idx="3370">
                  <c:v>0.0</c:v>
                </c:pt>
                <c:pt idx="3371">
                  <c:v>0.0</c:v>
                </c:pt>
                <c:pt idx="3372">
                  <c:v>0.0</c:v>
                </c:pt>
                <c:pt idx="3373">
                  <c:v>0.0</c:v>
                </c:pt>
                <c:pt idx="3374">
                  <c:v>0.0</c:v>
                </c:pt>
                <c:pt idx="3375">
                  <c:v>0.0</c:v>
                </c:pt>
                <c:pt idx="3376">
                  <c:v>0.0</c:v>
                </c:pt>
                <c:pt idx="3377">
                  <c:v>0.0</c:v>
                </c:pt>
                <c:pt idx="3378">
                  <c:v>0.0</c:v>
                </c:pt>
                <c:pt idx="3379">
                  <c:v>0.0</c:v>
                </c:pt>
                <c:pt idx="3380">
                  <c:v>0.0</c:v>
                </c:pt>
                <c:pt idx="3381">
                  <c:v>0.0</c:v>
                </c:pt>
                <c:pt idx="3382">
                  <c:v>0.0</c:v>
                </c:pt>
                <c:pt idx="3383">
                  <c:v>0.0</c:v>
                </c:pt>
                <c:pt idx="3384">
                  <c:v>0.0</c:v>
                </c:pt>
                <c:pt idx="3385">
                  <c:v>0.0</c:v>
                </c:pt>
                <c:pt idx="3386">
                  <c:v>0.0</c:v>
                </c:pt>
                <c:pt idx="3387">
                  <c:v>0.0</c:v>
                </c:pt>
                <c:pt idx="3388">
                  <c:v>0.0</c:v>
                </c:pt>
                <c:pt idx="3389">
                  <c:v>0.0</c:v>
                </c:pt>
                <c:pt idx="3390">
                  <c:v>0.0</c:v>
                </c:pt>
                <c:pt idx="3391">
                  <c:v>0.0</c:v>
                </c:pt>
                <c:pt idx="3392">
                  <c:v>0.0</c:v>
                </c:pt>
                <c:pt idx="3393">
                  <c:v>0.0</c:v>
                </c:pt>
                <c:pt idx="3394">
                  <c:v>0.0</c:v>
                </c:pt>
                <c:pt idx="3395">
                  <c:v>0.0</c:v>
                </c:pt>
                <c:pt idx="3396">
                  <c:v>0.0</c:v>
                </c:pt>
                <c:pt idx="3397">
                  <c:v>0.0</c:v>
                </c:pt>
                <c:pt idx="3398">
                  <c:v>0.0</c:v>
                </c:pt>
                <c:pt idx="3399">
                  <c:v>0.0</c:v>
                </c:pt>
                <c:pt idx="3400">
                  <c:v>0.0</c:v>
                </c:pt>
                <c:pt idx="3401">
                  <c:v>0.0</c:v>
                </c:pt>
                <c:pt idx="3402">
                  <c:v>0.0</c:v>
                </c:pt>
                <c:pt idx="3403">
                  <c:v>0.0</c:v>
                </c:pt>
                <c:pt idx="3404">
                  <c:v>0.0</c:v>
                </c:pt>
                <c:pt idx="3405">
                  <c:v>0.0</c:v>
                </c:pt>
                <c:pt idx="3406">
                  <c:v>0.0</c:v>
                </c:pt>
                <c:pt idx="3407">
                  <c:v>0.0</c:v>
                </c:pt>
                <c:pt idx="3408">
                  <c:v>0.0</c:v>
                </c:pt>
                <c:pt idx="3409">
                  <c:v>0.0</c:v>
                </c:pt>
                <c:pt idx="3410">
                  <c:v>0.0</c:v>
                </c:pt>
                <c:pt idx="3411">
                  <c:v>0.0</c:v>
                </c:pt>
                <c:pt idx="3412">
                  <c:v>0.0</c:v>
                </c:pt>
                <c:pt idx="3413">
                  <c:v>0.0</c:v>
                </c:pt>
                <c:pt idx="3414">
                  <c:v>0.0</c:v>
                </c:pt>
                <c:pt idx="3415">
                  <c:v>0.0</c:v>
                </c:pt>
                <c:pt idx="3416">
                  <c:v>0.0</c:v>
                </c:pt>
                <c:pt idx="3417">
                  <c:v>0.0</c:v>
                </c:pt>
                <c:pt idx="3418">
                  <c:v>0.0</c:v>
                </c:pt>
                <c:pt idx="3419">
                  <c:v>0.0</c:v>
                </c:pt>
                <c:pt idx="3420">
                  <c:v>0.0</c:v>
                </c:pt>
                <c:pt idx="3421">
                  <c:v>0.0</c:v>
                </c:pt>
                <c:pt idx="3422">
                  <c:v>0.0</c:v>
                </c:pt>
                <c:pt idx="3423">
                  <c:v>0.0</c:v>
                </c:pt>
                <c:pt idx="3424">
                  <c:v>0.0</c:v>
                </c:pt>
                <c:pt idx="3425">
                  <c:v>0.0</c:v>
                </c:pt>
                <c:pt idx="3426">
                  <c:v>0.0</c:v>
                </c:pt>
                <c:pt idx="3427">
                  <c:v>0.0</c:v>
                </c:pt>
                <c:pt idx="3428">
                  <c:v>0.0</c:v>
                </c:pt>
                <c:pt idx="3429">
                  <c:v>0.0</c:v>
                </c:pt>
                <c:pt idx="3430">
                  <c:v>0.0</c:v>
                </c:pt>
                <c:pt idx="3431">
                  <c:v>0.0</c:v>
                </c:pt>
                <c:pt idx="3432">
                  <c:v>0.0</c:v>
                </c:pt>
                <c:pt idx="3433">
                  <c:v>0.0</c:v>
                </c:pt>
                <c:pt idx="3434">
                  <c:v>0.0</c:v>
                </c:pt>
                <c:pt idx="3435">
                  <c:v>0.0</c:v>
                </c:pt>
                <c:pt idx="3436">
                  <c:v>0.0</c:v>
                </c:pt>
                <c:pt idx="3437">
                  <c:v>0.0</c:v>
                </c:pt>
                <c:pt idx="3438">
                  <c:v>0.0</c:v>
                </c:pt>
                <c:pt idx="3439">
                  <c:v>0.0</c:v>
                </c:pt>
                <c:pt idx="3440">
                  <c:v>0.0</c:v>
                </c:pt>
                <c:pt idx="3441">
                  <c:v>0.0</c:v>
                </c:pt>
                <c:pt idx="3442">
                  <c:v>0.0</c:v>
                </c:pt>
                <c:pt idx="3443">
                  <c:v>0.0</c:v>
                </c:pt>
                <c:pt idx="3444">
                  <c:v>0.0</c:v>
                </c:pt>
                <c:pt idx="3445">
                  <c:v>0.0</c:v>
                </c:pt>
                <c:pt idx="3446">
                  <c:v>0.0</c:v>
                </c:pt>
                <c:pt idx="3447">
                  <c:v>0.0</c:v>
                </c:pt>
                <c:pt idx="3448">
                  <c:v>0.0</c:v>
                </c:pt>
                <c:pt idx="3449">
                  <c:v>0.0</c:v>
                </c:pt>
                <c:pt idx="3450">
                  <c:v>0.0</c:v>
                </c:pt>
                <c:pt idx="3451">
                  <c:v>0.0</c:v>
                </c:pt>
                <c:pt idx="3452">
                  <c:v>0.0</c:v>
                </c:pt>
                <c:pt idx="3453">
                  <c:v>0.0</c:v>
                </c:pt>
                <c:pt idx="3454">
                  <c:v>0.0</c:v>
                </c:pt>
                <c:pt idx="3455">
                  <c:v>0.0</c:v>
                </c:pt>
                <c:pt idx="3456">
                  <c:v>0.0</c:v>
                </c:pt>
                <c:pt idx="3457">
                  <c:v>0.0</c:v>
                </c:pt>
                <c:pt idx="3458">
                  <c:v>0.0</c:v>
                </c:pt>
                <c:pt idx="3459">
                  <c:v>0.0</c:v>
                </c:pt>
                <c:pt idx="3460">
                  <c:v>0.0</c:v>
                </c:pt>
                <c:pt idx="3461">
                  <c:v>0.0</c:v>
                </c:pt>
                <c:pt idx="3462">
                  <c:v>0.0</c:v>
                </c:pt>
                <c:pt idx="3463">
                  <c:v>0.0</c:v>
                </c:pt>
                <c:pt idx="3464">
                  <c:v>0.0</c:v>
                </c:pt>
                <c:pt idx="3465">
                  <c:v>0.0</c:v>
                </c:pt>
                <c:pt idx="3466">
                  <c:v>0.0</c:v>
                </c:pt>
                <c:pt idx="3467">
                  <c:v>0.0</c:v>
                </c:pt>
                <c:pt idx="3468">
                  <c:v>0.0</c:v>
                </c:pt>
                <c:pt idx="3469">
                  <c:v>0.0</c:v>
                </c:pt>
                <c:pt idx="3470">
                  <c:v>0.0</c:v>
                </c:pt>
                <c:pt idx="3471">
                  <c:v>0.0</c:v>
                </c:pt>
                <c:pt idx="3472">
                  <c:v>0.0</c:v>
                </c:pt>
                <c:pt idx="3473">
                  <c:v>0.0</c:v>
                </c:pt>
                <c:pt idx="3474">
                  <c:v>0.0</c:v>
                </c:pt>
                <c:pt idx="3475">
                  <c:v>0.0</c:v>
                </c:pt>
                <c:pt idx="3476">
                  <c:v>0.0</c:v>
                </c:pt>
                <c:pt idx="3477">
                  <c:v>0.0</c:v>
                </c:pt>
                <c:pt idx="3478">
                  <c:v>0.0</c:v>
                </c:pt>
                <c:pt idx="3479">
                  <c:v>0.0</c:v>
                </c:pt>
                <c:pt idx="3480">
                  <c:v>0.0</c:v>
                </c:pt>
                <c:pt idx="3481">
                  <c:v>0.0</c:v>
                </c:pt>
                <c:pt idx="3482">
                  <c:v>0.0</c:v>
                </c:pt>
                <c:pt idx="3483">
                  <c:v>0.0</c:v>
                </c:pt>
                <c:pt idx="3484">
                  <c:v>0.0</c:v>
                </c:pt>
                <c:pt idx="3485">
                  <c:v>0.0</c:v>
                </c:pt>
                <c:pt idx="3486">
                  <c:v>0.0</c:v>
                </c:pt>
                <c:pt idx="3487">
                  <c:v>0.0</c:v>
                </c:pt>
                <c:pt idx="3488">
                  <c:v>0.0</c:v>
                </c:pt>
                <c:pt idx="3489">
                  <c:v>0.0</c:v>
                </c:pt>
                <c:pt idx="3490">
                  <c:v>0.0</c:v>
                </c:pt>
                <c:pt idx="3491">
                  <c:v>0.0</c:v>
                </c:pt>
                <c:pt idx="3492">
                  <c:v>0.0</c:v>
                </c:pt>
                <c:pt idx="3493">
                  <c:v>0.0</c:v>
                </c:pt>
                <c:pt idx="3494">
                  <c:v>0.0</c:v>
                </c:pt>
                <c:pt idx="3495">
                  <c:v>0.0</c:v>
                </c:pt>
                <c:pt idx="3496">
                  <c:v>0.0</c:v>
                </c:pt>
                <c:pt idx="3497">
                  <c:v>0.0</c:v>
                </c:pt>
                <c:pt idx="3498">
                  <c:v>0.0</c:v>
                </c:pt>
                <c:pt idx="3499">
                  <c:v>0.0</c:v>
                </c:pt>
                <c:pt idx="3500">
                  <c:v>0.0</c:v>
                </c:pt>
                <c:pt idx="3501">
                  <c:v>0.0</c:v>
                </c:pt>
                <c:pt idx="3502">
                  <c:v>0.0</c:v>
                </c:pt>
                <c:pt idx="3503">
                  <c:v>0.0</c:v>
                </c:pt>
                <c:pt idx="3504">
                  <c:v>0.0</c:v>
                </c:pt>
                <c:pt idx="3505">
                  <c:v>0.0</c:v>
                </c:pt>
                <c:pt idx="3506">
                  <c:v>0.0</c:v>
                </c:pt>
                <c:pt idx="3507">
                  <c:v>0.0</c:v>
                </c:pt>
                <c:pt idx="3508">
                  <c:v>0.0</c:v>
                </c:pt>
                <c:pt idx="3509">
                  <c:v>0.0</c:v>
                </c:pt>
                <c:pt idx="3510">
                  <c:v>0.0</c:v>
                </c:pt>
                <c:pt idx="3511">
                  <c:v>0.0</c:v>
                </c:pt>
                <c:pt idx="3512">
                  <c:v>0.0</c:v>
                </c:pt>
                <c:pt idx="3513">
                  <c:v>0.0</c:v>
                </c:pt>
                <c:pt idx="3514">
                  <c:v>0.0</c:v>
                </c:pt>
                <c:pt idx="3515">
                  <c:v>0.0</c:v>
                </c:pt>
                <c:pt idx="3516">
                  <c:v>0.0</c:v>
                </c:pt>
                <c:pt idx="3517">
                  <c:v>0.0</c:v>
                </c:pt>
                <c:pt idx="3518">
                  <c:v>0.0</c:v>
                </c:pt>
                <c:pt idx="3519">
                  <c:v>0.0</c:v>
                </c:pt>
                <c:pt idx="3520">
                  <c:v>0.0</c:v>
                </c:pt>
                <c:pt idx="3521">
                  <c:v>0.0</c:v>
                </c:pt>
                <c:pt idx="3522">
                  <c:v>0.0</c:v>
                </c:pt>
                <c:pt idx="3523">
                  <c:v>0.0</c:v>
                </c:pt>
                <c:pt idx="3524">
                  <c:v>0.0</c:v>
                </c:pt>
                <c:pt idx="3525">
                  <c:v>0.0</c:v>
                </c:pt>
                <c:pt idx="3526">
                  <c:v>0.0</c:v>
                </c:pt>
                <c:pt idx="3527">
                  <c:v>0.0</c:v>
                </c:pt>
                <c:pt idx="3528">
                  <c:v>0.0</c:v>
                </c:pt>
                <c:pt idx="3529">
                  <c:v>0.0</c:v>
                </c:pt>
                <c:pt idx="3530">
                  <c:v>0.0</c:v>
                </c:pt>
                <c:pt idx="3531">
                  <c:v>0.0</c:v>
                </c:pt>
                <c:pt idx="3532">
                  <c:v>0.0</c:v>
                </c:pt>
                <c:pt idx="3533">
                  <c:v>0.0</c:v>
                </c:pt>
                <c:pt idx="3534">
                  <c:v>0.0</c:v>
                </c:pt>
                <c:pt idx="3535">
                  <c:v>0.0</c:v>
                </c:pt>
                <c:pt idx="3536">
                  <c:v>0.0</c:v>
                </c:pt>
                <c:pt idx="3537">
                  <c:v>0.0</c:v>
                </c:pt>
                <c:pt idx="3538">
                  <c:v>0.0</c:v>
                </c:pt>
                <c:pt idx="3539">
                  <c:v>0.0</c:v>
                </c:pt>
                <c:pt idx="3540">
                  <c:v>0.0</c:v>
                </c:pt>
                <c:pt idx="3541">
                  <c:v>0.0</c:v>
                </c:pt>
                <c:pt idx="3542">
                  <c:v>0.0</c:v>
                </c:pt>
                <c:pt idx="3543">
                  <c:v>0.0</c:v>
                </c:pt>
                <c:pt idx="3544">
                  <c:v>0.0</c:v>
                </c:pt>
                <c:pt idx="3545">
                  <c:v>0.0</c:v>
                </c:pt>
                <c:pt idx="3546">
                  <c:v>0.0</c:v>
                </c:pt>
                <c:pt idx="3547">
                  <c:v>0.0</c:v>
                </c:pt>
                <c:pt idx="3548">
                  <c:v>0.0</c:v>
                </c:pt>
                <c:pt idx="3549">
                  <c:v>0.0</c:v>
                </c:pt>
                <c:pt idx="3550">
                  <c:v>0.0</c:v>
                </c:pt>
                <c:pt idx="3551">
                  <c:v>0.0</c:v>
                </c:pt>
                <c:pt idx="3552">
                  <c:v>0.0</c:v>
                </c:pt>
                <c:pt idx="3553">
                  <c:v>0.0</c:v>
                </c:pt>
                <c:pt idx="3554">
                  <c:v>0.0</c:v>
                </c:pt>
                <c:pt idx="3555">
                  <c:v>0.0</c:v>
                </c:pt>
                <c:pt idx="3556">
                  <c:v>0.0</c:v>
                </c:pt>
                <c:pt idx="3557">
                  <c:v>0.0</c:v>
                </c:pt>
                <c:pt idx="3558">
                  <c:v>0.0</c:v>
                </c:pt>
                <c:pt idx="3559">
                  <c:v>0.0</c:v>
                </c:pt>
                <c:pt idx="3560">
                  <c:v>0.0</c:v>
                </c:pt>
                <c:pt idx="3561">
                  <c:v>0.0</c:v>
                </c:pt>
                <c:pt idx="3562">
                  <c:v>0.0</c:v>
                </c:pt>
                <c:pt idx="3563">
                  <c:v>0.0</c:v>
                </c:pt>
                <c:pt idx="3564">
                  <c:v>0.0</c:v>
                </c:pt>
                <c:pt idx="3565">
                  <c:v>0.0</c:v>
                </c:pt>
                <c:pt idx="3566">
                  <c:v>0.0</c:v>
                </c:pt>
                <c:pt idx="3567">
                  <c:v>0.0</c:v>
                </c:pt>
                <c:pt idx="3568">
                  <c:v>0.0</c:v>
                </c:pt>
                <c:pt idx="3569">
                  <c:v>0.0</c:v>
                </c:pt>
                <c:pt idx="3570">
                  <c:v>0.0</c:v>
                </c:pt>
                <c:pt idx="3571">
                  <c:v>0.0</c:v>
                </c:pt>
                <c:pt idx="3572">
                  <c:v>0.0</c:v>
                </c:pt>
                <c:pt idx="3573">
                  <c:v>0.0</c:v>
                </c:pt>
                <c:pt idx="3574">
                  <c:v>0.0</c:v>
                </c:pt>
                <c:pt idx="3575">
                  <c:v>0.0</c:v>
                </c:pt>
                <c:pt idx="3576">
                  <c:v>0.0</c:v>
                </c:pt>
                <c:pt idx="3577">
                  <c:v>0.0</c:v>
                </c:pt>
                <c:pt idx="3578">
                  <c:v>0.0</c:v>
                </c:pt>
                <c:pt idx="3579">
                  <c:v>0.0</c:v>
                </c:pt>
                <c:pt idx="3580">
                  <c:v>0.0</c:v>
                </c:pt>
                <c:pt idx="3581">
                  <c:v>0.0</c:v>
                </c:pt>
                <c:pt idx="3582">
                  <c:v>0.0</c:v>
                </c:pt>
                <c:pt idx="3583">
                  <c:v>0.0</c:v>
                </c:pt>
                <c:pt idx="3584">
                  <c:v>0.0</c:v>
                </c:pt>
                <c:pt idx="3585">
                  <c:v>0.0</c:v>
                </c:pt>
                <c:pt idx="3586">
                  <c:v>0.0</c:v>
                </c:pt>
                <c:pt idx="3587">
                  <c:v>0.0</c:v>
                </c:pt>
                <c:pt idx="3588">
                  <c:v>0.0</c:v>
                </c:pt>
                <c:pt idx="3589">
                  <c:v>0.0</c:v>
                </c:pt>
                <c:pt idx="3590">
                  <c:v>0.0</c:v>
                </c:pt>
                <c:pt idx="3591">
                  <c:v>0.0</c:v>
                </c:pt>
                <c:pt idx="3592">
                  <c:v>0.0</c:v>
                </c:pt>
                <c:pt idx="3593">
                  <c:v>0.0</c:v>
                </c:pt>
                <c:pt idx="3594">
                  <c:v>0.0</c:v>
                </c:pt>
                <c:pt idx="3595">
                  <c:v>0.0</c:v>
                </c:pt>
                <c:pt idx="3596">
                  <c:v>0.0</c:v>
                </c:pt>
                <c:pt idx="3597">
                  <c:v>0.0</c:v>
                </c:pt>
                <c:pt idx="3598">
                  <c:v>0.0</c:v>
                </c:pt>
                <c:pt idx="3599">
                  <c:v>0.0</c:v>
                </c:pt>
                <c:pt idx="3600">
                  <c:v>0.0</c:v>
                </c:pt>
                <c:pt idx="3601">
                  <c:v>0.0</c:v>
                </c:pt>
                <c:pt idx="3602">
                  <c:v>0.0</c:v>
                </c:pt>
                <c:pt idx="3603">
                  <c:v>0.0</c:v>
                </c:pt>
                <c:pt idx="3604">
                  <c:v>0.0</c:v>
                </c:pt>
                <c:pt idx="3605">
                  <c:v>0.0</c:v>
                </c:pt>
                <c:pt idx="3606">
                  <c:v>0.0</c:v>
                </c:pt>
                <c:pt idx="3607">
                  <c:v>0.0</c:v>
                </c:pt>
                <c:pt idx="3608">
                  <c:v>0.0</c:v>
                </c:pt>
                <c:pt idx="3609">
                  <c:v>0.0</c:v>
                </c:pt>
                <c:pt idx="3610">
                  <c:v>0.0</c:v>
                </c:pt>
                <c:pt idx="3611">
                  <c:v>0.0</c:v>
                </c:pt>
                <c:pt idx="3612">
                  <c:v>0.0</c:v>
                </c:pt>
                <c:pt idx="3613">
                  <c:v>0.0</c:v>
                </c:pt>
                <c:pt idx="3614">
                  <c:v>0.0</c:v>
                </c:pt>
                <c:pt idx="3615">
                  <c:v>0.0</c:v>
                </c:pt>
                <c:pt idx="3616">
                  <c:v>0.0</c:v>
                </c:pt>
                <c:pt idx="3617">
                  <c:v>0.0</c:v>
                </c:pt>
                <c:pt idx="3618">
                  <c:v>0.0</c:v>
                </c:pt>
                <c:pt idx="3619">
                  <c:v>0.0</c:v>
                </c:pt>
                <c:pt idx="3620">
                  <c:v>0.0</c:v>
                </c:pt>
                <c:pt idx="3621">
                  <c:v>0.0</c:v>
                </c:pt>
                <c:pt idx="3622">
                  <c:v>0.0</c:v>
                </c:pt>
                <c:pt idx="3623">
                  <c:v>0.0</c:v>
                </c:pt>
                <c:pt idx="3624">
                  <c:v>0.0</c:v>
                </c:pt>
                <c:pt idx="3625">
                  <c:v>0.0</c:v>
                </c:pt>
                <c:pt idx="3626">
                  <c:v>0.0</c:v>
                </c:pt>
                <c:pt idx="3627">
                  <c:v>0.0</c:v>
                </c:pt>
                <c:pt idx="3628">
                  <c:v>0.0</c:v>
                </c:pt>
                <c:pt idx="3629">
                  <c:v>0.0</c:v>
                </c:pt>
                <c:pt idx="3630">
                  <c:v>0.0</c:v>
                </c:pt>
                <c:pt idx="3631">
                  <c:v>0.0</c:v>
                </c:pt>
                <c:pt idx="3632">
                  <c:v>0.0</c:v>
                </c:pt>
                <c:pt idx="3633">
                  <c:v>0.0</c:v>
                </c:pt>
                <c:pt idx="3634">
                  <c:v>0.0</c:v>
                </c:pt>
                <c:pt idx="3635">
                  <c:v>0.0</c:v>
                </c:pt>
                <c:pt idx="3636">
                  <c:v>0.0</c:v>
                </c:pt>
                <c:pt idx="3637">
                  <c:v>0.0</c:v>
                </c:pt>
                <c:pt idx="3638">
                  <c:v>0.0</c:v>
                </c:pt>
                <c:pt idx="3639">
                  <c:v>0.0</c:v>
                </c:pt>
                <c:pt idx="3640">
                  <c:v>0.0</c:v>
                </c:pt>
                <c:pt idx="3641">
                  <c:v>0.0</c:v>
                </c:pt>
                <c:pt idx="3642">
                  <c:v>0.0</c:v>
                </c:pt>
                <c:pt idx="3643">
                  <c:v>0.0</c:v>
                </c:pt>
                <c:pt idx="3644">
                  <c:v>0.0</c:v>
                </c:pt>
                <c:pt idx="3645">
                  <c:v>0.0</c:v>
                </c:pt>
                <c:pt idx="3646">
                  <c:v>0.0</c:v>
                </c:pt>
                <c:pt idx="3647">
                  <c:v>0.0</c:v>
                </c:pt>
                <c:pt idx="3648">
                  <c:v>0.0</c:v>
                </c:pt>
                <c:pt idx="3649">
                  <c:v>0.0</c:v>
                </c:pt>
                <c:pt idx="3650">
                  <c:v>0.0</c:v>
                </c:pt>
                <c:pt idx="3651">
                  <c:v>0.0</c:v>
                </c:pt>
                <c:pt idx="3652">
                  <c:v>0.0</c:v>
                </c:pt>
                <c:pt idx="3653">
                  <c:v>0.0</c:v>
                </c:pt>
                <c:pt idx="3654">
                  <c:v>0.0</c:v>
                </c:pt>
                <c:pt idx="3655">
                  <c:v>0.0</c:v>
                </c:pt>
                <c:pt idx="3656">
                  <c:v>0.0</c:v>
                </c:pt>
                <c:pt idx="3657">
                  <c:v>0.0</c:v>
                </c:pt>
                <c:pt idx="3658">
                  <c:v>0.0</c:v>
                </c:pt>
                <c:pt idx="3659">
                  <c:v>0.0</c:v>
                </c:pt>
                <c:pt idx="3660">
                  <c:v>0.0</c:v>
                </c:pt>
                <c:pt idx="3661">
                  <c:v>0.0</c:v>
                </c:pt>
                <c:pt idx="3662">
                  <c:v>0.0</c:v>
                </c:pt>
                <c:pt idx="3663">
                  <c:v>0.0</c:v>
                </c:pt>
                <c:pt idx="3664">
                  <c:v>0.0</c:v>
                </c:pt>
                <c:pt idx="3665">
                  <c:v>0.0</c:v>
                </c:pt>
                <c:pt idx="3666">
                  <c:v>0.0</c:v>
                </c:pt>
                <c:pt idx="3667">
                  <c:v>0.0</c:v>
                </c:pt>
                <c:pt idx="3668">
                  <c:v>0.0</c:v>
                </c:pt>
                <c:pt idx="3669">
                  <c:v>0.0</c:v>
                </c:pt>
                <c:pt idx="3670">
                  <c:v>0.0</c:v>
                </c:pt>
                <c:pt idx="3671">
                  <c:v>0.0</c:v>
                </c:pt>
                <c:pt idx="3672">
                  <c:v>0.0</c:v>
                </c:pt>
                <c:pt idx="3673">
                  <c:v>0.0</c:v>
                </c:pt>
                <c:pt idx="3674">
                  <c:v>0.0</c:v>
                </c:pt>
                <c:pt idx="3675">
                  <c:v>0.0</c:v>
                </c:pt>
                <c:pt idx="3676">
                  <c:v>0.0</c:v>
                </c:pt>
                <c:pt idx="3677">
                  <c:v>0.0</c:v>
                </c:pt>
                <c:pt idx="3678">
                  <c:v>0.0</c:v>
                </c:pt>
                <c:pt idx="3679">
                  <c:v>0.0</c:v>
                </c:pt>
                <c:pt idx="3680">
                  <c:v>0.0</c:v>
                </c:pt>
                <c:pt idx="3681">
                  <c:v>0.0</c:v>
                </c:pt>
                <c:pt idx="3682">
                  <c:v>0.0</c:v>
                </c:pt>
                <c:pt idx="3683">
                  <c:v>0.0</c:v>
                </c:pt>
                <c:pt idx="3684">
                  <c:v>0.0</c:v>
                </c:pt>
                <c:pt idx="3685">
                  <c:v>0.0</c:v>
                </c:pt>
                <c:pt idx="3686">
                  <c:v>0.0</c:v>
                </c:pt>
                <c:pt idx="3687">
                  <c:v>0.0</c:v>
                </c:pt>
                <c:pt idx="3688">
                  <c:v>0.0</c:v>
                </c:pt>
                <c:pt idx="3689">
                  <c:v>0.0</c:v>
                </c:pt>
                <c:pt idx="3690">
                  <c:v>0.0</c:v>
                </c:pt>
                <c:pt idx="3691">
                  <c:v>0.0</c:v>
                </c:pt>
                <c:pt idx="3692">
                  <c:v>0.0</c:v>
                </c:pt>
                <c:pt idx="3693">
                  <c:v>0.0</c:v>
                </c:pt>
                <c:pt idx="3694">
                  <c:v>0.0</c:v>
                </c:pt>
                <c:pt idx="3695">
                  <c:v>0.0</c:v>
                </c:pt>
                <c:pt idx="3696">
                  <c:v>0.0</c:v>
                </c:pt>
                <c:pt idx="3697">
                  <c:v>0.0</c:v>
                </c:pt>
                <c:pt idx="3698">
                  <c:v>0.0</c:v>
                </c:pt>
                <c:pt idx="3699">
                  <c:v>0.0</c:v>
                </c:pt>
                <c:pt idx="3700">
                  <c:v>0.0</c:v>
                </c:pt>
                <c:pt idx="3701">
                  <c:v>0.0</c:v>
                </c:pt>
                <c:pt idx="3702">
                  <c:v>0.0</c:v>
                </c:pt>
                <c:pt idx="3703">
                  <c:v>0.0</c:v>
                </c:pt>
                <c:pt idx="3704">
                  <c:v>0.0</c:v>
                </c:pt>
                <c:pt idx="3705">
                  <c:v>0.0</c:v>
                </c:pt>
                <c:pt idx="3706">
                  <c:v>0.0</c:v>
                </c:pt>
                <c:pt idx="3707">
                  <c:v>0.0</c:v>
                </c:pt>
                <c:pt idx="3708">
                  <c:v>0.0</c:v>
                </c:pt>
                <c:pt idx="3709">
                  <c:v>0.0</c:v>
                </c:pt>
                <c:pt idx="3710">
                  <c:v>0.0</c:v>
                </c:pt>
                <c:pt idx="3711">
                  <c:v>0.0</c:v>
                </c:pt>
                <c:pt idx="3712">
                  <c:v>0.0</c:v>
                </c:pt>
                <c:pt idx="3713">
                  <c:v>0.0</c:v>
                </c:pt>
                <c:pt idx="3714">
                  <c:v>0.0</c:v>
                </c:pt>
                <c:pt idx="3715">
                  <c:v>0.0</c:v>
                </c:pt>
                <c:pt idx="3716">
                  <c:v>0.0</c:v>
                </c:pt>
                <c:pt idx="3717">
                  <c:v>0.0</c:v>
                </c:pt>
                <c:pt idx="3718">
                  <c:v>0.0</c:v>
                </c:pt>
                <c:pt idx="3719">
                  <c:v>0.0</c:v>
                </c:pt>
                <c:pt idx="3720">
                  <c:v>0.0</c:v>
                </c:pt>
                <c:pt idx="3721">
                  <c:v>0.0</c:v>
                </c:pt>
                <c:pt idx="3722">
                  <c:v>0.0</c:v>
                </c:pt>
                <c:pt idx="3723">
                  <c:v>0.0</c:v>
                </c:pt>
                <c:pt idx="3724">
                  <c:v>0.0</c:v>
                </c:pt>
                <c:pt idx="3725">
                  <c:v>0.0</c:v>
                </c:pt>
                <c:pt idx="3726">
                  <c:v>0.0</c:v>
                </c:pt>
                <c:pt idx="3727">
                  <c:v>0.0</c:v>
                </c:pt>
                <c:pt idx="3728">
                  <c:v>0.0</c:v>
                </c:pt>
                <c:pt idx="3729">
                  <c:v>0.0</c:v>
                </c:pt>
                <c:pt idx="3730">
                  <c:v>0.0</c:v>
                </c:pt>
                <c:pt idx="3731">
                  <c:v>0.0</c:v>
                </c:pt>
                <c:pt idx="3732">
                  <c:v>0.0</c:v>
                </c:pt>
                <c:pt idx="3733">
                  <c:v>0.0</c:v>
                </c:pt>
                <c:pt idx="3734">
                  <c:v>0.0</c:v>
                </c:pt>
                <c:pt idx="3735">
                  <c:v>0.0</c:v>
                </c:pt>
                <c:pt idx="3736">
                  <c:v>0.0</c:v>
                </c:pt>
                <c:pt idx="3737">
                  <c:v>0.0</c:v>
                </c:pt>
                <c:pt idx="3738">
                  <c:v>0.0</c:v>
                </c:pt>
                <c:pt idx="3739">
                  <c:v>0.0</c:v>
                </c:pt>
                <c:pt idx="3740">
                  <c:v>0.0</c:v>
                </c:pt>
                <c:pt idx="3741">
                  <c:v>0.0</c:v>
                </c:pt>
                <c:pt idx="3742">
                  <c:v>0.0</c:v>
                </c:pt>
                <c:pt idx="3743">
                  <c:v>0.0</c:v>
                </c:pt>
                <c:pt idx="3744">
                  <c:v>0.0</c:v>
                </c:pt>
                <c:pt idx="3745">
                  <c:v>0.0</c:v>
                </c:pt>
                <c:pt idx="3746">
                  <c:v>0.0</c:v>
                </c:pt>
                <c:pt idx="3747">
                  <c:v>0.0</c:v>
                </c:pt>
                <c:pt idx="3748">
                  <c:v>0.0</c:v>
                </c:pt>
                <c:pt idx="3749">
                  <c:v>0.0</c:v>
                </c:pt>
                <c:pt idx="3750">
                  <c:v>0.0</c:v>
                </c:pt>
                <c:pt idx="3751">
                  <c:v>0.0</c:v>
                </c:pt>
                <c:pt idx="3752">
                  <c:v>0.0</c:v>
                </c:pt>
                <c:pt idx="3753">
                  <c:v>0.0</c:v>
                </c:pt>
                <c:pt idx="3754">
                  <c:v>0.0</c:v>
                </c:pt>
                <c:pt idx="3755">
                  <c:v>0.0</c:v>
                </c:pt>
                <c:pt idx="3756">
                  <c:v>0.0</c:v>
                </c:pt>
                <c:pt idx="3757">
                  <c:v>0.0</c:v>
                </c:pt>
                <c:pt idx="3758">
                  <c:v>0.0</c:v>
                </c:pt>
                <c:pt idx="3759">
                  <c:v>0.0</c:v>
                </c:pt>
                <c:pt idx="3760">
                  <c:v>0.0</c:v>
                </c:pt>
                <c:pt idx="3761">
                  <c:v>0.0</c:v>
                </c:pt>
                <c:pt idx="3762">
                  <c:v>0.0</c:v>
                </c:pt>
                <c:pt idx="3763">
                  <c:v>0.0</c:v>
                </c:pt>
                <c:pt idx="3764">
                  <c:v>0.0</c:v>
                </c:pt>
                <c:pt idx="3765">
                  <c:v>0.0</c:v>
                </c:pt>
                <c:pt idx="3766">
                  <c:v>0.0</c:v>
                </c:pt>
                <c:pt idx="3767">
                  <c:v>0.0</c:v>
                </c:pt>
                <c:pt idx="3768">
                  <c:v>0.0</c:v>
                </c:pt>
                <c:pt idx="3769">
                  <c:v>0.0</c:v>
                </c:pt>
                <c:pt idx="3770">
                  <c:v>0.0</c:v>
                </c:pt>
                <c:pt idx="3771">
                  <c:v>0.0</c:v>
                </c:pt>
                <c:pt idx="3772">
                  <c:v>0.0</c:v>
                </c:pt>
                <c:pt idx="3773">
                  <c:v>0.0</c:v>
                </c:pt>
                <c:pt idx="3774">
                  <c:v>0.0</c:v>
                </c:pt>
                <c:pt idx="3775">
                  <c:v>0.0</c:v>
                </c:pt>
                <c:pt idx="3776">
                  <c:v>0.0</c:v>
                </c:pt>
                <c:pt idx="3777">
                  <c:v>0.0</c:v>
                </c:pt>
                <c:pt idx="3778">
                  <c:v>0.0</c:v>
                </c:pt>
                <c:pt idx="3779">
                  <c:v>0.0</c:v>
                </c:pt>
                <c:pt idx="3780">
                  <c:v>0.0</c:v>
                </c:pt>
                <c:pt idx="3781">
                  <c:v>0.0</c:v>
                </c:pt>
                <c:pt idx="3782">
                  <c:v>0.0</c:v>
                </c:pt>
                <c:pt idx="3783">
                  <c:v>0.0</c:v>
                </c:pt>
                <c:pt idx="3784">
                  <c:v>0.0</c:v>
                </c:pt>
                <c:pt idx="3785">
                  <c:v>0.0</c:v>
                </c:pt>
                <c:pt idx="3786">
                  <c:v>0.0</c:v>
                </c:pt>
                <c:pt idx="3787">
                  <c:v>0.0</c:v>
                </c:pt>
                <c:pt idx="3788">
                  <c:v>0.0</c:v>
                </c:pt>
                <c:pt idx="3789">
                  <c:v>0.0</c:v>
                </c:pt>
                <c:pt idx="3790">
                  <c:v>0.0</c:v>
                </c:pt>
                <c:pt idx="3791">
                  <c:v>0.0</c:v>
                </c:pt>
                <c:pt idx="3792">
                  <c:v>0.0</c:v>
                </c:pt>
                <c:pt idx="3793">
                  <c:v>0.0</c:v>
                </c:pt>
                <c:pt idx="3794">
                  <c:v>0.0</c:v>
                </c:pt>
                <c:pt idx="3795">
                  <c:v>0.0</c:v>
                </c:pt>
                <c:pt idx="3796">
                  <c:v>0.0</c:v>
                </c:pt>
                <c:pt idx="3797">
                  <c:v>0.0</c:v>
                </c:pt>
                <c:pt idx="3798">
                  <c:v>0.0</c:v>
                </c:pt>
                <c:pt idx="3799">
                  <c:v>0.0</c:v>
                </c:pt>
                <c:pt idx="3800">
                  <c:v>0.0</c:v>
                </c:pt>
                <c:pt idx="3801">
                  <c:v>0.0</c:v>
                </c:pt>
                <c:pt idx="3802">
                  <c:v>0.0</c:v>
                </c:pt>
                <c:pt idx="3803">
                  <c:v>0.0</c:v>
                </c:pt>
                <c:pt idx="3804">
                  <c:v>0.0</c:v>
                </c:pt>
                <c:pt idx="3805">
                  <c:v>0.0</c:v>
                </c:pt>
                <c:pt idx="3806">
                  <c:v>0.0</c:v>
                </c:pt>
                <c:pt idx="3807">
                  <c:v>0.0</c:v>
                </c:pt>
                <c:pt idx="3808">
                  <c:v>0.0</c:v>
                </c:pt>
                <c:pt idx="3809">
                  <c:v>0.0</c:v>
                </c:pt>
                <c:pt idx="3810">
                  <c:v>0.0</c:v>
                </c:pt>
                <c:pt idx="3811">
                  <c:v>0.0</c:v>
                </c:pt>
                <c:pt idx="3812">
                  <c:v>0.0</c:v>
                </c:pt>
                <c:pt idx="3813">
                  <c:v>0.0</c:v>
                </c:pt>
                <c:pt idx="3814">
                  <c:v>0.0</c:v>
                </c:pt>
                <c:pt idx="3815">
                  <c:v>0.0</c:v>
                </c:pt>
                <c:pt idx="3816">
                  <c:v>0.0</c:v>
                </c:pt>
                <c:pt idx="3817">
                  <c:v>0.0</c:v>
                </c:pt>
                <c:pt idx="3818">
                  <c:v>0.0</c:v>
                </c:pt>
                <c:pt idx="3819">
                  <c:v>0.0</c:v>
                </c:pt>
                <c:pt idx="3820">
                  <c:v>0.0</c:v>
                </c:pt>
                <c:pt idx="3821">
                  <c:v>0.0</c:v>
                </c:pt>
                <c:pt idx="3822">
                  <c:v>0.0</c:v>
                </c:pt>
                <c:pt idx="3823">
                  <c:v>0.0</c:v>
                </c:pt>
                <c:pt idx="3824">
                  <c:v>0.0</c:v>
                </c:pt>
                <c:pt idx="3825">
                  <c:v>0.0</c:v>
                </c:pt>
                <c:pt idx="3826">
                  <c:v>0.0</c:v>
                </c:pt>
                <c:pt idx="3827">
                  <c:v>0.0</c:v>
                </c:pt>
                <c:pt idx="3828">
                  <c:v>0.0</c:v>
                </c:pt>
                <c:pt idx="3829">
                  <c:v>0.0</c:v>
                </c:pt>
                <c:pt idx="3830">
                  <c:v>0.0</c:v>
                </c:pt>
                <c:pt idx="3831">
                  <c:v>0.0</c:v>
                </c:pt>
                <c:pt idx="3832">
                  <c:v>0.0</c:v>
                </c:pt>
                <c:pt idx="3833">
                  <c:v>0.0</c:v>
                </c:pt>
                <c:pt idx="3834">
                  <c:v>0.0</c:v>
                </c:pt>
                <c:pt idx="3835">
                  <c:v>0.0</c:v>
                </c:pt>
                <c:pt idx="3836">
                  <c:v>0.0</c:v>
                </c:pt>
                <c:pt idx="3837">
                  <c:v>0.0</c:v>
                </c:pt>
                <c:pt idx="3838">
                  <c:v>0.0</c:v>
                </c:pt>
                <c:pt idx="3839">
                  <c:v>0.0</c:v>
                </c:pt>
                <c:pt idx="3840">
                  <c:v>0.0</c:v>
                </c:pt>
                <c:pt idx="3841">
                  <c:v>0.0</c:v>
                </c:pt>
                <c:pt idx="3842">
                  <c:v>0.0</c:v>
                </c:pt>
                <c:pt idx="3843">
                  <c:v>0.0</c:v>
                </c:pt>
                <c:pt idx="3844">
                  <c:v>0.0</c:v>
                </c:pt>
                <c:pt idx="3845">
                  <c:v>0.0</c:v>
                </c:pt>
                <c:pt idx="3846">
                  <c:v>0.0</c:v>
                </c:pt>
                <c:pt idx="3847">
                  <c:v>0.0</c:v>
                </c:pt>
                <c:pt idx="3848">
                  <c:v>0.0</c:v>
                </c:pt>
                <c:pt idx="3849">
                  <c:v>0.0</c:v>
                </c:pt>
                <c:pt idx="3850">
                  <c:v>0.0</c:v>
                </c:pt>
                <c:pt idx="3851">
                  <c:v>0.0</c:v>
                </c:pt>
                <c:pt idx="3852">
                  <c:v>0.0</c:v>
                </c:pt>
                <c:pt idx="3853">
                  <c:v>0.0</c:v>
                </c:pt>
                <c:pt idx="3854">
                  <c:v>0.0</c:v>
                </c:pt>
                <c:pt idx="3855">
                  <c:v>0.0</c:v>
                </c:pt>
                <c:pt idx="3856">
                  <c:v>0.0</c:v>
                </c:pt>
                <c:pt idx="3857">
                  <c:v>0.0</c:v>
                </c:pt>
                <c:pt idx="3858">
                  <c:v>0.0</c:v>
                </c:pt>
                <c:pt idx="3859">
                  <c:v>0.0</c:v>
                </c:pt>
                <c:pt idx="3860">
                  <c:v>0.0</c:v>
                </c:pt>
                <c:pt idx="3861">
                  <c:v>0.0</c:v>
                </c:pt>
                <c:pt idx="3862">
                  <c:v>0.0</c:v>
                </c:pt>
                <c:pt idx="3863">
                  <c:v>0.0</c:v>
                </c:pt>
                <c:pt idx="3864">
                  <c:v>0.0</c:v>
                </c:pt>
                <c:pt idx="3865">
                  <c:v>0.0</c:v>
                </c:pt>
                <c:pt idx="3866">
                  <c:v>0.0</c:v>
                </c:pt>
                <c:pt idx="3867">
                  <c:v>0.0</c:v>
                </c:pt>
                <c:pt idx="3868">
                  <c:v>0.0</c:v>
                </c:pt>
                <c:pt idx="3869">
                  <c:v>0.0</c:v>
                </c:pt>
                <c:pt idx="3870">
                  <c:v>0.0</c:v>
                </c:pt>
                <c:pt idx="3871">
                  <c:v>0.0</c:v>
                </c:pt>
                <c:pt idx="3872">
                  <c:v>0.0</c:v>
                </c:pt>
                <c:pt idx="3873">
                  <c:v>0.0</c:v>
                </c:pt>
                <c:pt idx="3874">
                  <c:v>0.0</c:v>
                </c:pt>
                <c:pt idx="3875">
                  <c:v>0.0</c:v>
                </c:pt>
                <c:pt idx="3876">
                  <c:v>0.0</c:v>
                </c:pt>
                <c:pt idx="3877">
                  <c:v>0.0</c:v>
                </c:pt>
                <c:pt idx="3878">
                  <c:v>0.0</c:v>
                </c:pt>
                <c:pt idx="3879">
                  <c:v>0.0</c:v>
                </c:pt>
                <c:pt idx="3880">
                  <c:v>0.0</c:v>
                </c:pt>
                <c:pt idx="3881">
                  <c:v>0.0</c:v>
                </c:pt>
                <c:pt idx="3882">
                  <c:v>0.0</c:v>
                </c:pt>
                <c:pt idx="3883">
                  <c:v>0.0</c:v>
                </c:pt>
                <c:pt idx="3884">
                  <c:v>0.0</c:v>
                </c:pt>
                <c:pt idx="3885">
                  <c:v>0.0</c:v>
                </c:pt>
                <c:pt idx="3886">
                  <c:v>0.0</c:v>
                </c:pt>
                <c:pt idx="3887">
                  <c:v>0.0</c:v>
                </c:pt>
                <c:pt idx="3888">
                  <c:v>0.0</c:v>
                </c:pt>
                <c:pt idx="3889">
                  <c:v>0.0</c:v>
                </c:pt>
                <c:pt idx="3890">
                  <c:v>0.0</c:v>
                </c:pt>
                <c:pt idx="3891">
                  <c:v>0.0</c:v>
                </c:pt>
                <c:pt idx="3892">
                  <c:v>0.0</c:v>
                </c:pt>
                <c:pt idx="3893">
                  <c:v>0.0</c:v>
                </c:pt>
                <c:pt idx="3894">
                  <c:v>0.0</c:v>
                </c:pt>
                <c:pt idx="3895">
                  <c:v>0.0</c:v>
                </c:pt>
                <c:pt idx="3896">
                  <c:v>0.0</c:v>
                </c:pt>
                <c:pt idx="3897">
                  <c:v>0.0</c:v>
                </c:pt>
                <c:pt idx="3898">
                  <c:v>0.0</c:v>
                </c:pt>
                <c:pt idx="3899">
                  <c:v>0.0</c:v>
                </c:pt>
                <c:pt idx="3900">
                  <c:v>0.0</c:v>
                </c:pt>
                <c:pt idx="3901">
                  <c:v>0.0</c:v>
                </c:pt>
                <c:pt idx="3902">
                  <c:v>0.0</c:v>
                </c:pt>
                <c:pt idx="3903">
                  <c:v>0.0</c:v>
                </c:pt>
                <c:pt idx="3904">
                  <c:v>0.0</c:v>
                </c:pt>
                <c:pt idx="3905">
                  <c:v>0.0</c:v>
                </c:pt>
                <c:pt idx="3906">
                  <c:v>0.0</c:v>
                </c:pt>
                <c:pt idx="3907">
                  <c:v>0.0</c:v>
                </c:pt>
                <c:pt idx="3908">
                  <c:v>0.0</c:v>
                </c:pt>
                <c:pt idx="3909">
                  <c:v>0.0</c:v>
                </c:pt>
                <c:pt idx="3910">
                  <c:v>0.0</c:v>
                </c:pt>
                <c:pt idx="3911">
                  <c:v>0.0</c:v>
                </c:pt>
                <c:pt idx="3912">
                  <c:v>0.0</c:v>
                </c:pt>
                <c:pt idx="3913">
                  <c:v>0.0</c:v>
                </c:pt>
                <c:pt idx="3914">
                  <c:v>0.0</c:v>
                </c:pt>
                <c:pt idx="3915">
                  <c:v>0.0</c:v>
                </c:pt>
                <c:pt idx="3916">
                  <c:v>0.0</c:v>
                </c:pt>
                <c:pt idx="3917">
                  <c:v>0.0</c:v>
                </c:pt>
                <c:pt idx="3918">
                  <c:v>0.0</c:v>
                </c:pt>
                <c:pt idx="3919">
                  <c:v>0.0</c:v>
                </c:pt>
                <c:pt idx="3920">
                  <c:v>0.0</c:v>
                </c:pt>
                <c:pt idx="3921">
                  <c:v>0.0</c:v>
                </c:pt>
                <c:pt idx="3922">
                  <c:v>0.0</c:v>
                </c:pt>
                <c:pt idx="3923">
                  <c:v>0.0</c:v>
                </c:pt>
                <c:pt idx="3924">
                  <c:v>0.0</c:v>
                </c:pt>
                <c:pt idx="3925">
                  <c:v>0.0</c:v>
                </c:pt>
                <c:pt idx="3926">
                  <c:v>0.0</c:v>
                </c:pt>
                <c:pt idx="3927">
                  <c:v>0.0</c:v>
                </c:pt>
                <c:pt idx="3928">
                  <c:v>0.0</c:v>
                </c:pt>
                <c:pt idx="3929">
                  <c:v>0.0</c:v>
                </c:pt>
                <c:pt idx="3930">
                  <c:v>0.0</c:v>
                </c:pt>
                <c:pt idx="3931">
                  <c:v>0.0</c:v>
                </c:pt>
                <c:pt idx="3932">
                  <c:v>0.0</c:v>
                </c:pt>
                <c:pt idx="3933">
                  <c:v>0.0</c:v>
                </c:pt>
                <c:pt idx="3934">
                  <c:v>0.0</c:v>
                </c:pt>
                <c:pt idx="3935">
                  <c:v>0.0</c:v>
                </c:pt>
                <c:pt idx="3936">
                  <c:v>0.0</c:v>
                </c:pt>
                <c:pt idx="3937">
                  <c:v>0.0</c:v>
                </c:pt>
                <c:pt idx="3938">
                  <c:v>0.0</c:v>
                </c:pt>
                <c:pt idx="3939">
                  <c:v>0.0</c:v>
                </c:pt>
                <c:pt idx="3940">
                  <c:v>0.0</c:v>
                </c:pt>
                <c:pt idx="3941">
                  <c:v>0.0</c:v>
                </c:pt>
                <c:pt idx="3942">
                  <c:v>0.0</c:v>
                </c:pt>
                <c:pt idx="3943">
                  <c:v>0.0</c:v>
                </c:pt>
                <c:pt idx="3944">
                  <c:v>0.0</c:v>
                </c:pt>
                <c:pt idx="3945">
                  <c:v>0.0</c:v>
                </c:pt>
                <c:pt idx="3946">
                  <c:v>0.0</c:v>
                </c:pt>
                <c:pt idx="3947">
                  <c:v>0.0</c:v>
                </c:pt>
                <c:pt idx="3948">
                  <c:v>0.0</c:v>
                </c:pt>
                <c:pt idx="3949">
                  <c:v>0.0</c:v>
                </c:pt>
                <c:pt idx="3950">
                  <c:v>0.0</c:v>
                </c:pt>
                <c:pt idx="3951">
                  <c:v>0.0</c:v>
                </c:pt>
                <c:pt idx="3952">
                  <c:v>0.0</c:v>
                </c:pt>
                <c:pt idx="3953">
                  <c:v>0.0</c:v>
                </c:pt>
                <c:pt idx="3954">
                  <c:v>0.0</c:v>
                </c:pt>
                <c:pt idx="3955">
                  <c:v>0.0</c:v>
                </c:pt>
                <c:pt idx="3956">
                  <c:v>0.0</c:v>
                </c:pt>
                <c:pt idx="3957">
                  <c:v>0.0</c:v>
                </c:pt>
                <c:pt idx="3958">
                  <c:v>0.0</c:v>
                </c:pt>
                <c:pt idx="3959">
                  <c:v>0.0</c:v>
                </c:pt>
                <c:pt idx="3960">
                  <c:v>0.0</c:v>
                </c:pt>
                <c:pt idx="3961">
                  <c:v>0.0</c:v>
                </c:pt>
                <c:pt idx="3962">
                  <c:v>0.0</c:v>
                </c:pt>
                <c:pt idx="3963">
                  <c:v>0.0</c:v>
                </c:pt>
                <c:pt idx="3964">
                  <c:v>0.0</c:v>
                </c:pt>
                <c:pt idx="3965">
                  <c:v>0.0</c:v>
                </c:pt>
                <c:pt idx="3966">
                  <c:v>0.0</c:v>
                </c:pt>
                <c:pt idx="3967">
                  <c:v>0.0</c:v>
                </c:pt>
                <c:pt idx="3968">
                  <c:v>0.0</c:v>
                </c:pt>
                <c:pt idx="3969">
                  <c:v>0.0</c:v>
                </c:pt>
                <c:pt idx="3970">
                  <c:v>0.0</c:v>
                </c:pt>
                <c:pt idx="3971">
                  <c:v>0.0</c:v>
                </c:pt>
                <c:pt idx="3972">
                  <c:v>0.0</c:v>
                </c:pt>
                <c:pt idx="3973">
                  <c:v>0.0</c:v>
                </c:pt>
                <c:pt idx="3974">
                  <c:v>0.0</c:v>
                </c:pt>
                <c:pt idx="3975">
                  <c:v>0.0</c:v>
                </c:pt>
                <c:pt idx="3976">
                  <c:v>0.0</c:v>
                </c:pt>
                <c:pt idx="3977">
                  <c:v>0.0</c:v>
                </c:pt>
                <c:pt idx="3978">
                  <c:v>0.0</c:v>
                </c:pt>
                <c:pt idx="3979">
                  <c:v>0.0</c:v>
                </c:pt>
                <c:pt idx="3980">
                  <c:v>0.0</c:v>
                </c:pt>
                <c:pt idx="3981">
                  <c:v>0.0</c:v>
                </c:pt>
                <c:pt idx="3982">
                  <c:v>0.0</c:v>
                </c:pt>
                <c:pt idx="3983">
                  <c:v>0.0</c:v>
                </c:pt>
                <c:pt idx="3984">
                  <c:v>0.0</c:v>
                </c:pt>
                <c:pt idx="3985">
                  <c:v>0.0</c:v>
                </c:pt>
                <c:pt idx="3986">
                  <c:v>0.0</c:v>
                </c:pt>
                <c:pt idx="3987">
                  <c:v>0.0</c:v>
                </c:pt>
                <c:pt idx="3988">
                  <c:v>0.0</c:v>
                </c:pt>
                <c:pt idx="3989">
                  <c:v>0.0</c:v>
                </c:pt>
                <c:pt idx="3990">
                  <c:v>0.0</c:v>
                </c:pt>
                <c:pt idx="3991">
                  <c:v>0.0</c:v>
                </c:pt>
                <c:pt idx="3992">
                  <c:v>0.0</c:v>
                </c:pt>
                <c:pt idx="3993">
                  <c:v>0.0</c:v>
                </c:pt>
                <c:pt idx="3994">
                  <c:v>0.0</c:v>
                </c:pt>
                <c:pt idx="3995">
                  <c:v>0.0</c:v>
                </c:pt>
                <c:pt idx="3996">
                  <c:v>0.0</c:v>
                </c:pt>
                <c:pt idx="3997">
                  <c:v>0.0</c:v>
                </c:pt>
                <c:pt idx="3998">
                  <c:v>0.0</c:v>
                </c:pt>
                <c:pt idx="3999">
                  <c:v>0.0</c:v>
                </c:pt>
                <c:pt idx="4000">
                  <c:v>0.0</c:v>
                </c:pt>
                <c:pt idx="4001">
                  <c:v>0.0</c:v>
                </c:pt>
                <c:pt idx="4002">
                  <c:v>0.0</c:v>
                </c:pt>
                <c:pt idx="4003">
                  <c:v>0.0</c:v>
                </c:pt>
                <c:pt idx="4004">
                  <c:v>0.0</c:v>
                </c:pt>
                <c:pt idx="4005">
                  <c:v>0.0</c:v>
                </c:pt>
                <c:pt idx="4006">
                  <c:v>0.0</c:v>
                </c:pt>
                <c:pt idx="4007">
                  <c:v>0.0</c:v>
                </c:pt>
                <c:pt idx="4008">
                  <c:v>0.0</c:v>
                </c:pt>
                <c:pt idx="4009">
                  <c:v>0.0</c:v>
                </c:pt>
                <c:pt idx="4010">
                  <c:v>0.0</c:v>
                </c:pt>
                <c:pt idx="4011">
                  <c:v>0.0</c:v>
                </c:pt>
                <c:pt idx="4012">
                  <c:v>0.0</c:v>
                </c:pt>
                <c:pt idx="4013">
                  <c:v>0.0</c:v>
                </c:pt>
                <c:pt idx="4014">
                  <c:v>0.0</c:v>
                </c:pt>
                <c:pt idx="4015">
                  <c:v>0.0</c:v>
                </c:pt>
                <c:pt idx="4016">
                  <c:v>0.0</c:v>
                </c:pt>
                <c:pt idx="4017">
                  <c:v>0.0</c:v>
                </c:pt>
                <c:pt idx="4018">
                  <c:v>0.0</c:v>
                </c:pt>
                <c:pt idx="4019">
                  <c:v>0.0</c:v>
                </c:pt>
                <c:pt idx="4020">
                  <c:v>0.0</c:v>
                </c:pt>
                <c:pt idx="4021">
                  <c:v>0.0</c:v>
                </c:pt>
                <c:pt idx="4022">
                  <c:v>0.0</c:v>
                </c:pt>
                <c:pt idx="4023">
                  <c:v>0.0</c:v>
                </c:pt>
                <c:pt idx="4024">
                  <c:v>0.0</c:v>
                </c:pt>
                <c:pt idx="4025">
                  <c:v>0.0</c:v>
                </c:pt>
                <c:pt idx="4026">
                  <c:v>0.0</c:v>
                </c:pt>
                <c:pt idx="4027">
                  <c:v>0.0</c:v>
                </c:pt>
                <c:pt idx="4028">
                  <c:v>0.0</c:v>
                </c:pt>
                <c:pt idx="4029">
                  <c:v>0.0</c:v>
                </c:pt>
                <c:pt idx="4030">
                  <c:v>0.0</c:v>
                </c:pt>
                <c:pt idx="4031">
                  <c:v>0.0</c:v>
                </c:pt>
                <c:pt idx="4032">
                  <c:v>0.0</c:v>
                </c:pt>
                <c:pt idx="4033">
                  <c:v>0.0</c:v>
                </c:pt>
                <c:pt idx="4034">
                  <c:v>0.0</c:v>
                </c:pt>
                <c:pt idx="4035">
                  <c:v>0.0</c:v>
                </c:pt>
                <c:pt idx="4036">
                  <c:v>0.0</c:v>
                </c:pt>
                <c:pt idx="4037">
                  <c:v>0.0</c:v>
                </c:pt>
                <c:pt idx="4038">
                  <c:v>0.0</c:v>
                </c:pt>
                <c:pt idx="4039">
                  <c:v>0.0</c:v>
                </c:pt>
                <c:pt idx="4040">
                  <c:v>0.0</c:v>
                </c:pt>
                <c:pt idx="4041">
                  <c:v>0.0</c:v>
                </c:pt>
                <c:pt idx="4042">
                  <c:v>0.0</c:v>
                </c:pt>
                <c:pt idx="4043">
                  <c:v>0.0</c:v>
                </c:pt>
                <c:pt idx="4044">
                  <c:v>0.0</c:v>
                </c:pt>
                <c:pt idx="4045">
                  <c:v>0.0</c:v>
                </c:pt>
                <c:pt idx="4046">
                  <c:v>0.0</c:v>
                </c:pt>
                <c:pt idx="4047">
                  <c:v>0.0</c:v>
                </c:pt>
                <c:pt idx="4048">
                  <c:v>0.0</c:v>
                </c:pt>
                <c:pt idx="4049">
                  <c:v>0.0</c:v>
                </c:pt>
                <c:pt idx="4050">
                  <c:v>0.0</c:v>
                </c:pt>
                <c:pt idx="4051">
                  <c:v>0.0</c:v>
                </c:pt>
                <c:pt idx="4052">
                  <c:v>0.0</c:v>
                </c:pt>
                <c:pt idx="4053">
                  <c:v>0.0</c:v>
                </c:pt>
                <c:pt idx="4054">
                  <c:v>0.0</c:v>
                </c:pt>
                <c:pt idx="4055">
                  <c:v>0.0</c:v>
                </c:pt>
                <c:pt idx="4056">
                  <c:v>0.0</c:v>
                </c:pt>
                <c:pt idx="4057">
                  <c:v>0.0</c:v>
                </c:pt>
                <c:pt idx="4058">
                  <c:v>0.0</c:v>
                </c:pt>
                <c:pt idx="4059">
                  <c:v>0.0</c:v>
                </c:pt>
                <c:pt idx="4060">
                  <c:v>0.0</c:v>
                </c:pt>
                <c:pt idx="4061">
                  <c:v>0.0</c:v>
                </c:pt>
                <c:pt idx="4062">
                  <c:v>0.0</c:v>
                </c:pt>
                <c:pt idx="4063">
                  <c:v>0.0</c:v>
                </c:pt>
                <c:pt idx="4064">
                  <c:v>0.0</c:v>
                </c:pt>
                <c:pt idx="4065">
                  <c:v>0.0</c:v>
                </c:pt>
                <c:pt idx="4066">
                  <c:v>0.0</c:v>
                </c:pt>
                <c:pt idx="4067">
                  <c:v>0.0</c:v>
                </c:pt>
                <c:pt idx="4068">
                  <c:v>0.0</c:v>
                </c:pt>
                <c:pt idx="4069">
                  <c:v>0.0</c:v>
                </c:pt>
                <c:pt idx="4070">
                  <c:v>0.0</c:v>
                </c:pt>
                <c:pt idx="4071">
                  <c:v>0.0</c:v>
                </c:pt>
                <c:pt idx="4072">
                  <c:v>0.0</c:v>
                </c:pt>
                <c:pt idx="4073">
                  <c:v>0.0</c:v>
                </c:pt>
                <c:pt idx="4074">
                  <c:v>0.0</c:v>
                </c:pt>
                <c:pt idx="4075">
                  <c:v>0.0</c:v>
                </c:pt>
                <c:pt idx="4076">
                  <c:v>0.0</c:v>
                </c:pt>
                <c:pt idx="4077">
                  <c:v>0.0</c:v>
                </c:pt>
                <c:pt idx="4078">
                  <c:v>0.0</c:v>
                </c:pt>
                <c:pt idx="4079">
                  <c:v>0.0</c:v>
                </c:pt>
                <c:pt idx="4080">
                  <c:v>0.0</c:v>
                </c:pt>
                <c:pt idx="4081">
                  <c:v>0.0</c:v>
                </c:pt>
                <c:pt idx="4082">
                  <c:v>0.0</c:v>
                </c:pt>
                <c:pt idx="4083">
                  <c:v>0.0</c:v>
                </c:pt>
                <c:pt idx="4084">
                  <c:v>0.0</c:v>
                </c:pt>
                <c:pt idx="4085">
                  <c:v>0.0</c:v>
                </c:pt>
                <c:pt idx="4086">
                  <c:v>0.0</c:v>
                </c:pt>
                <c:pt idx="4087">
                  <c:v>0.0</c:v>
                </c:pt>
                <c:pt idx="4088">
                  <c:v>0.0</c:v>
                </c:pt>
                <c:pt idx="4089">
                  <c:v>0.0</c:v>
                </c:pt>
                <c:pt idx="4090">
                  <c:v>0.0</c:v>
                </c:pt>
                <c:pt idx="4091">
                  <c:v>0.0</c:v>
                </c:pt>
                <c:pt idx="4092">
                  <c:v>0.0</c:v>
                </c:pt>
                <c:pt idx="4093">
                  <c:v>0.0</c:v>
                </c:pt>
                <c:pt idx="4094">
                  <c:v>0.0</c:v>
                </c:pt>
                <c:pt idx="4095">
                  <c:v>0.0</c:v>
                </c:pt>
                <c:pt idx="4096">
                  <c:v>0.0</c:v>
                </c:pt>
                <c:pt idx="4097">
                  <c:v>0.0</c:v>
                </c:pt>
                <c:pt idx="4098">
                  <c:v>0.0</c:v>
                </c:pt>
                <c:pt idx="4099">
                  <c:v>0.0</c:v>
                </c:pt>
                <c:pt idx="4100">
                  <c:v>0.0</c:v>
                </c:pt>
                <c:pt idx="4101">
                  <c:v>0.0</c:v>
                </c:pt>
                <c:pt idx="4102">
                  <c:v>0.0</c:v>
                </c:pt>
                <c:pt idx="4103">
                  <c:v>0.0</c:v>
                </c:pt>
                <c:pt idx="4104">
                  <c:v>0.0</c:v>
                </c:pt>
                <c:pt idx="4105">
                  <c:v>0.0</c:v>
                </c:pt>
                <c:pt idx="4106">
                  <c:v>0.0</c:v>
                </c:pt>
                <c:pt idx="4107">
                  <c:v>0.0</c:v>
                </c:pt>
                <c:pt idx="4108">
                  <c:v>0.0</c:v>
                </c:pt>
                <c:pt idx="4109">
                  <c:v>0.0</c:v>
                </c:pt>
                <c:pt idx="4110">
                  <c:v>0.0</c:v>
                </c:pt>
                <c:pt idx="4111">
                  <c:v>0.0</c:v>
                </c:pt>
                <c:pt idx="4112">
                  <c:v>0.0</c:v>
                </c:pt>
                <c:pt idx="4113">
                  <c:v>0.0</c:v>
                </c:pt>
                <c:pt idx="4114">
                  <c:v>0.0</c:v>
                </c:pt>
                <c:pt idx="4115">
                  <c:v>0.0</c:v>
                </c:pt>
                <c:pt idx="4116">
                  <c:v>0.0</c:v>
                </c:pt>
                <c:pt idx="4117">
                  <c:v>0.0</c:v>
                </c:pt>
                <c:pt idx="4118">
                  <c:v>0.0</c:v>
                </c:pt>
                <c:pt idx="4119">
                  <c:v>0.0</c:v>
                </c:pt>
                <c:pt idx="4120">
                  <c:v>0.0</c:v>
                </c:pt>
                <c:pt idx="4121">
                  <c:v>0.0</c:v>
                </c:pt>
                <c:pt idx="4122">
                  <c:v>0.0</c:v>
                </c:pt>
                <c:pt idx="4123">
                  <c:v>0.0</c:v>
                </c:pt>
                <c:pt idx="4124">
                  <c:v>0.0</c:v>
                </c:pt>
                <c:pt idx="4125">
                  <c:v>0.0</c:v>
                </c:pt>
                <c:pt idx="4126">
                  <c:v>0.0</c:v>
                </c:pt>
                <c:pt idx="4127">
                  <c:v>0.0</c:v>
                </c:pt>
                <c:pt idx="4128">
                  <c:v>0.0</c:v>
                </c:pt>
                <c:pt idx="4129">
                  <c:v>0.0</c:v>
                </c:pt>
                <c:pt idx="4130">
                  <c:v>0.0</c:v>
                </c:pt>
                <c:pt idx="4131">
                  <c:v>0.0</c:v>
                </c:pt>
                <c:pt idx="4132">
                  <c:v>0.0</c:v>
                </c:pt>
                <c:pt idx="4133">
                  <c:v>0.0</c:v>
                </c:pt>
                <c:pt idx="4134">
                  <c:v>0.0</c:v>
                </c:pt>
                <c:pt idx="4135">
                  <c:v>0.0</c:v>
                </c:pt>
                <c:pt idx="4136">
                  <c:v>0.0</c:v>
                </c:pt>
                <c:pt idx="4137">
                  <c:v>0.0</c:v>
                </c:pt>
                <c:pt idx="4138">
                  <c:v>0.0</c:v>
                </c:pt>
                <c:pt idx="4139">
                  <c:v>0.0</c:v>
                </c:pt>
                <c:pt idx="4140">
                  <c:v>0.0</c:v>
                </c:pt>
                <c:pt idx="4141">
                  <c:v>0.0</c:v>
                </c:pt>
                <c:pt idx="4142">
                  <c:v>0.0</c:v>
                </c:pt>
                <c:pt idx="4143">
                  <c:v>0.0</c:v>
                </c:pt>
                <c:pt idx="4144">
                  <c:v>0.0</c:v>
                </c:pt>
                <c:pt idx="4145">
                  <c:v>0.0</c:v>
                </c:pt>
                <c:pt idx="4146">
                  <c:v>0.0</c:v>
                </c:pt>
                <c:pt idx="4147">
                  <c:v>0.0</c:v>
                </c:pt>
                <c:pt idx="4148">
                  <c:v>0.0</c:v>
                </c:pt>
                <c:pt idx="4149">
                  <c:v>0.0</c:v>
                </c:pt>
                <c:pt idx="4150">
                  <c:v>0.0</c:v>
                </c:pt>
                <c:pt idx="4151">
                  <c:v>0.0</c:v>
                </c:pt>
                <c:pt idx="4152">
                  <c:v>0.0</c:v>
                </c:pt>
                <c:pt idx="4153">
                  <c:v>0.0</c:v>
                </c:pt>
                <c:pt idx="4154">
                  <c:v>0.0</c:v>
                </c:pt>
                <c:pt idx="4155">
                  <c:v>0.0</c:v>
                </c:pt>
                <c:pt idx="4156">
                  <c:v>0.0</c:v>
                </c:pt>
                <c:pt idx="4157">
                  <c:v>0.0</c:v>
                </c:pt>
                <c:pt idx="4158">
                  <c:v>0.0</c:v>
                </c:pt>
                <c:pt idx="4159">
                  <c:v>0.0</c:v>
                </c:pt>
                <c:pt idx="4160">
                  <c:v>0.0</c:v>
                </c:pt>
                <c:pt idx="4161">
                  <c:v>0.0</c:v>
                </c:pt>
                <c:pt idx="4162">
                  <c:v>0.0</c:v>
                </c:pt>
                <c:pt idx="4163">
                  <c:v>0.0</c:v>
                </c:pt>
                <c:pt idx="4164">
                  <c:v>0.0</c:v>
                </c:pt>
                <c:pt idx="4165">
                  <c:v>0.0</c:v>
                </c:pt>
                <c:pt idx="4166">
                  <c:v>0.0</c:v>
                </c:pt>
                <c:pt idx="4167">
                  <c:v>0.0</c:v>
                </c:pt>
                <c:pt idx="4168">
                  <c:v>0.0</c:v>
                </c:pt>
                <c:pt idx="4169">
                  <c:v>0.0</c:v>
                </c:pt>
                <c:pt idx="4170">
                  <c:v>0.0</c:v>
                </c:pt>
                <c:pt idx="4171">
                  <c:v>0.0</c:v>
                </c:pt>
                <c:pt idx="4172">
                  <c:v>0.0</c:v>
                </c:pt>
                <c:pt idx="4173">
                  <c:v>0.0</c:v>
                </c:pt>
                <c:pt idx="4174">
                  <c:v>0.0</c:v>
                </c:pt>
                <c:pt idx="4175">
                  <c:v>0.0</c:v>
                </c:pt>
                <c:pt idx="4176">
                  <c:v>0.0</c:v>
                </c:pt>
                <c:pt idx="4177">
                  <c:v>0.0</c:v>
                </c:pt>
                <c:pt idx="4178">
                  <c:v>0.0</c:v>
                </c:pt>
                <c:pt idx="4179">
                  <c:v>0.0</c:v>
                </c:pt>
                <c:pt idx="4180">
                  <c:v>0.0</c:v>
                </c:pt>
                <c:pt idx="4181">
                  <c:v>0.0</c:v>
                </c:pt>
                <c:pt idx="4182">
                  <c:v>0.0</c:v>
                </c:pt>
                <c:pt idx="4183">
                  <c:v>0.0</c:v>
                </c:pt>
                <c:pt idx="4184">
                  <c:v>0.0</c:v>
                </c:pt>
                <c:pt idx="4185">
                  <c:v>0.0</c:v>
                </c:pt>
                <c:pt idx="4186">
                  <c:v>0.0</c:v>
                </c:pt>
                <c:pt idx="4187">
                  <c:v>0.0</c:v>
                </c:pt>
                <c:pt idx="4188">
                  <c:v>0.0</c:v>
                </c:pt>
                <c:pt idx="4189">
                  <c:v>0.0</c:v>
                </c:pt>
                <c:pt idx="4190">
                  <c:v>0.0</c:v>
                </c:pt>
                <c:pt idx="4191">
                  <c:v>0.0</c:v>
                </c:pt>
                <c:pt idx="4192">
                  <c:v>0.0</c:v>
                </c:pt>
                <c:pt idx="4193">
                  <c:v>0.0</c:v>
                </c:pt>
                <c:pt idx="4194">
                  <c:v>0.0</c:v>
                </c:pt>
                <c:pt idx="4195">
                  <c:v>0.0</c:v>
                </c:pt>
                <c:pt idx="4196">
                  <c:v>0.0</c:v>
                </c:pt>
                <c:pt idx="4197">
                  <c:v>0.0</c:v>
                </c:pt>
                <c:pt idx="4198">
                  <c:v>0.0</c:v>
                </c:pt>
                <c:pt idx="4199">
                  <c:v>0.0</c:v>
                </c:pt>
                <c:pt idx="4200">
                  <c:v>0.0</c:v>
                </c:pt>
                <c:pt idx="4201">
                  <c:v>0.0</c:v>
                </c:pt>
                <c:pt idx="4202">
                  <c:v>0.0</c:v>
                </c:pt>
                <c:pt idx="4203">
                  <c:v>0.0</c:v>
                </c:pt>
                <c:pt idx="4204">
                  <c:v>0.0</c:v>
                </c:pt>
                <c:pt idx="4205">
                  <c:v>0.0</c:v>
                </c:pt>
                <c:pt idx="4206">
                  <c:v>0.0</c:v>
                </c:pt>
                <c:pt idx="4207">
                  <c:v>0.0</c:v>
                </c:pt>
                <c:pt idx="4208">
                  <c:v>0.0</c:v>
                </c:pt>
                <c:pt idx="4209">
                  <c:v>0.0</c:v>
                </c:pt>
                <c:pt idx="4210">
                  <c:v>0.0</c:v>
                </c:pt>
                <c:pt idx="4211">
                  <c:v>0.0</c:v>
                </c:pt>
                <c:pt idx="4212">
                  <c:v>0.0</c:v>
                </c:pt>
                <c:pt idx="4213">
                  <c:v>0.0</c:v>
                </c:pt>
                <c:pt idx="4214">
                  <c:v>0.0</c:v>
                </c:pt>
                <c:pt idx="4215">
                  <c:v>0.0</c:v>
                </c:pt>
                <c:pt idx="4216">
                  <c:v>0.0</c:v>
                </c:pt>
                <c:pt idx="4217">
                  <c:v>0.0</c:v>
                </c:pt>
                <c:pt idx="4218">
                  <c:v>0.0</c:v>
                </c:pt>
                <c:pt idx="4219">
                  <c:v>0.0</c:v>
                </c:pt>
                <c:pt idx="4220">
                  <c:v>0.0</c:v>
                </c:pt>
                <c:pt idx="4221">
                  <c:v>0.0</c:v>
                </c:pt>
                <c:pt idx="4222">
                  <c:v>0.0</c:v>
                </c:pt>
                <c:pt idx="4223">
                  <c:v>0.0</c:v>
                </c:pt>
                <c:pt idx="4224">
                  <c:v>0.0</c:v>
                </c:pt>
                <c:pt idx="4225">
                  <c:v>0.0</c:v>
                </c:pt>
                <c:pt idx="4226">
                  <c:v>0.0</c:v>
                </c:pt>
                <c:pt idx="4227">
                  <c:v>0.0</c:v>
                </c:pt>
                <c:pt idx="4228">
                  <c:v>0.0</c:v>
                </c:pt>
                <c:pt idx="4229">
                  <c:v>0.0</c:v>
                </c:pt>
                <c:pt idx="4230">
                  <c:v>0.0</c:v>
                </c:pt>
                <c:pt idx="4231">
                  <c:v>0.0</c:v>
                </c:pt>
                <c:pt idx="4232">
                  <c:v>0.0</c:v>
                </c:pt>
                <c:pt idx="4233">
                  <c:v>0.0</c:v>
                </c:pt>
                <c:pt idx="4234">
                  <c:v>0.0</c:v>
                </c:pt>
                <c:pt idx="4235">
                  <c:v>0.0</c:v>
                </c:pt>
                <c:pt idx="4236">
                  <c:v>0.0</c:v>
                </c:pt>
                <c:pt idx="4237">
                  <c:v>0.0</c:v>
                </c:pt>
                <c:pt idx="4238">
                  <c:v>0.0</c:v>
                </c:pt>
                <c:pt idx="4239">
                  <c:v>0.0</c:v>
                </c:pt>
                <c:pt idx="4240">
                  <c:v>0.0</c:v>
                </c:pt>
                <c:pt idx="4241">
                  <c:v>0.0</c:v>
                </c:pt>
                <c:pt idx="4242">
                  <c:v>0.0</c:v>
                </c:pt>
                <c:pt idx="4243">
                  <c:v>0.0</c:v>
                </c:pt>
                <c:pt idx="4244">
                  <c:v>0.0</c:v>
                </c:pt>
                <c:pt idx="4245">
                  <c:v>0.0</c:v>
                </c:pt>
                <c:pt idx="4246">
                  <c:v>0.0</c:v>
                </c:pt>
                <c:pt idx="4247">
                  <c:v>0.0</c:v>
                </c:pt>
                <c:pt idx="4248">
                  <c:v>0.0</c:v>
                </c:pt>
                <c:pt idx="4249">
                  <c:v>0.0</c:v>
                </c:pt>
                <c:pt idx="4250">
                  <c:v>0.0</c:v>
                </c:pt>
                <c:pt idx="4251">
                  <c:v>0.0</c:v>
                </c:pt>
                <c:pt idx="4252">
                  <c:v>0.0</c:v>
                </c:pt>
                <c:pt idx="4253">
                  <c:v>0.0</c:v>
                </c:pt>
                <c:pt idx="4254">
                  <c:v>0.0</c:v>
                </c:pt>
                <c:pt idx="4255">
                  <c:v>0.0</c:v>
                </c:pt>
                <c:pt idx="4256">
                  <c:v>0.0</c:v>
                </c:pt>
                <c:pt idx="4257">
                  <c:v>0.0</c:v>
                </c:pt>
                <c:pt idx="4258">
                  <c:v>0.0</c:v>
                </c:pt>
                <c:pt idx="4259">
                  <c:v>0.0</c:v>
                </c:pt>
                <c:pt idx="4260">
                  <c:v>0.0</c:v>
                </c:pt>
                <c:pt idx="4261">
                  <c:v>0.0</c:v>
                </c:pt>
                <c:pt idx="4262">
                  <c:v>0.0</c:v>
                </c:pt>
                <c:pt idx="4263">
                  <c:v>0.0</c:v>
                </c:pt>
                <c:pt idx="4264">
                  <c:v>0.0</c:v>
                </c:pt>
                <c:pt idx="4265">
                  <c:v>0.0</c:v>
                </c:pt>
                <c:pt idx="4266">
                  <c:v>0.0</c:v>
                </c:pt>
                <c:pt idx="4267">
                  <c:v>0.0</c:v>
                </c:pt>
                <c:pt idx="4268">
                  <c:v>0.0</c:v>
                </c:pt>
                <c:pt idx="4269">
                  <c:v>0.0</c:v>
                </c:pt>
                <c:pt idx="4270">
                  <c:v>0.0</c:v>
                </c:pt>
                <c:pt idx="4271">
                  <c:v>0.0</c:v>
                </c:pt>
                <c:pt idx="4272">
                  <c:v>0.0</c:v>
                </c:pt>
                <c:pt idx="4273">
                  <c:v>0.0</c:v>
                </c:pt>
                <c:pt idx="4274">
                  <c:v>0.0</c:v>
                </c:pt>
                <c:pt idx="4275">
                  <c:v>0.0</c:v>
                </c:pt>
                <c:pt idx="4276">
                  <c:v>0.0</c:v>
                </c:pt>
                <c:pt idx="4277">
                  <c:v>0.0</c:v>
                </c:pt>
                <c:pt idx="4278">
                  <c:v>0.0</c:v>
                </c:pt>
                <c:pt idx="4279">
                  <c:v>0.0</c:v>
                </c:pt>
                <c:pt idx="4280">
                  <c:v>0.0</c:v>
                </c:pt>
                <c:pt idx="4281">
                  <c:v>0.0</c:v>
                </c:pt>
                <c:pt idx="4282">
                  <c:v>0.0</c:v>
                </c:pt>
                <c:pt idx="4283">
                  <c:v>0.0</c:v>
                </c:pt>
                <c:pt idx="4284">
                  <c:v>0.0</c:v>
                </c:pt>
                <c:pt idx="4285">
                  <c:v>0.0</c:v>
                </c:pt>
                <c:pt idx="4286">
                  <c:v>0.0</c:v>
                </c:pt>
                <c:pt idx="4287">
                  <c:v>0.0</c:v>
                </c:pt>
                <c:pt idx="4288">
                  <c:v>0.0</c:v>
                </c:pt>
                <c:pt idx="4289">
                  <c:v>0.0</c:v>
                </c:pt>
                <c:pt idx="4290">
                  <c:v>0.0</c:v>
                </c:pt>
                <c:pt idx="4291">
                  <c:v>0.0</c:v>
                </c:pt>
                <c:pt idx="4292">
                  <c:v>0.0</c:v>
                </c:pt>
                <c:pt idx="4293">
                  <c:v>0.0</c:v>
                </c:pt>
                <c:pt idx="4294">
                  <c:v>0.0</c:v>
                </c:pt>
                <c:pt idx="4295">
                  <c:v>0.0</c:v>
                </c:pt>
                <c:pt idx="4296">
                  <c:v>0.0</c:v>
                </c:pt>
                <c:pt idx="4297">
                  <c:v>0.0</c:v>
                </c:pt>
                <c:pt idx="4298">
                  <c:v>0.0</c:v>
                </c:pt>
                <c:pt idx="4299">
                  <c:v>0.0</c:v>
                </c:pt>
                <c:pt idx="4300">
                  <c:v>0.0</c:v>
                </c:pt>
                <c:pt idx="4301">
                  <c:v>0.0</c:v>
                </c:pt>
                <c:pt idx="4302">
                  <c:v>0.0</c:v>
                </c:pt>
                <c:pt idx="4303">
                  <c:v>0.0</c:v>
                </c:pt>
                <c:pt idx="4304">
                  <c:v>0.0</c:v>
                </c:pt>
                <c:pt idx="4305">
                  <c:v>0.0</c:v>
                </c:pt>
                <c:pt idx="4306">
                  <c:v>0.0</c:v>
                </c:pt>
                <c:pt idx="4307">
                  <c:v>0.0</c:v>
                </c:pt>
                <c:pt idx="4308">
                  <c:v>0.0</c:v>
                </c:pt>
                <c:pt idx="4309">
                  <c:v>0.0</c:v>
                </c:pt>
                <c:pt idx="4310">
                  <c:v>0.0</c:v>
                </c:pt>
                <c:pt idx="4311">
                  <c:v>0.0</c:v>
                </c:pt>
                <c:pt idx="4312">
                  <c:v>0.0</c:v>
                </c:pt>
                <c:pt idx="4313">
                  <c:v>0.0</c:v>
                </c:pt>
                <c:pt idx="4314">
                  <c:v>0.0</c:v>
                </c:pt>
                <c:pt idx="4315">
                  <c:v>0.0</c:v>
                </c:pt>
                <c:pt idx="4316">
                  <c:v>0.0</c:v>
                </c:pt>
                <c:pt idx="4317">
                  <c:v>0.0</c:v>
                </c:pt>
                <c:pt idx="4318">
                  <c:v>0.0</c:v>
                </c:pt>
                <c:pt idx="4319">
                  <c:v>0.0</c:v>
                </c:pt>
                <c:pt idx="4320">
                  <c:v>0.0</c:v>
                </c:pt>
                <c:pt idx="4321">
                  <c:v>0.0</c:v>
                </c:pt>
                <c:pt idx="4322">
                  <c:v>0.0</c:v>
                </c:pt>
                <c:pt idx="4323">
                  <c:v>0.0</c:v>
                </c:pt>
                <c:pt idx="4324">
                  <c:v>0.0</c:v>
                </c:pt>
                <c:pt idx="4325">
                  <c:v>0.0</c:v>
                </c:pt>
                <c:pt idx="4326">
                  <c:v>0.0</c:v>
                </c:pt>
                <c:pt idx="4327">
                  <c:v>0.0</c:v>
                </c:pt>
                <c:pt idx="4328">
                  <c:v>0.0</c:v>
                </c:pt>
                <c:pt idx="4329">
                  <c:v>0.0</c:v>
                </c:pt>
                <c:pt idx="4330">
                  <c:v>0.0</c:v>
                </c:pt>
                <c:pt idx="4331">
                  <c:v>0.0</c:v>
                </c:pt>
                <c:pt idx="4332">
                  <c:v>0.0</c:v>
                </c:pt>
                <c:pt idx="4333">
                  <c:v>0.0</c:v>
                </c:pt>
                <c:pt idx="4334">
                  <c:v>0.0</c:v>
                </c:pt>
                <c:pt idx="4335">
                  <c:v>0.0</c:v>
                </c:pt>
                <c:pt idx="4336">
                  <c:v>0.0</c:v>
                </c:pt>
                <c:pt idx="4337">
                  <c:v>0.0</c:v>
                </c:pt>
                <c:pt idx="4338">
                  <c:v>0.0</c:v>
                </c:pt>
                <c:pt idx="4339">
                  <c:v>0.0</c:v>
                </c:pt>
                <c:pt idx="4340">
                  <c:v>0.0</c:v>
                </c:pt>
                <c:pt idx="4341">
                  <c:v>0.0</c:v>
                </c:pt>
                <c:pt idx="4342">
                  <c:v>0.0</c:v>
                </c:pt>
                <c:pt idx="4343">
                  <c:v>0.0</c:v>
                </c:pt>
                <c:pt idx="4344">
                  <c:v>0.0</c:v>
                </c:pt>
                <c:pt idx="4345">
                  <c:v>0.0</c:v>
                </c:pt>
                <c:pt idx="4346">
                  <c:v>0.0</c:v>
                </c:pt>
                <c:pt idx="4347">
                  <c:v>0.0</c:v>
                </c:pt>
                <c:pt idx="4348">
                  <c:v>0.0</c:v>
                </c:pt>
                <c:pt idx="4349">
                  <c:v>0.0</c:v>
                </c:pt>
                <c:pt idx="4350">
                  <c:v>0.0</c:v>
                </c:pt>
                <c:pt idx="4351">
                  <c:v>0.0</c:v>
                </c:pt>
                <c:pt idx="4352">
                  <c:v>0.0</c:v>
                </c:pt>
                <c:pt idx="4353">
                  <c:v>0.0</c:v>
                </c:pt>
                <c:pt idx="4354">
                  <c:v>0.0</c:v>
                </c:pt>
                <c:pt idx="4355">
                  <c:v>0.0</c:v>
                </c:pt>
                <c:pt idx="4356">
                  <c:v>0.0</c:v>
                </c:pt>
                <c:pt idx="4357">
                  <c:v>0.0</c:v>
                </c:pt>
                <c:pt idx="4358">
                  <c:v>0.0</c:v>
                </c:pt>
                <c:pt idx="4359">
                  <c:v>0.0</c:v>
                </c:pt>
                <c:pt idx="4360">
                  <c:v>0.0</c:v>
                </c:pt>
                <c:pt idx="4361">
                  <c:v>0.0</c:v>
                </c:pt>
                <c:pt idx="4362">
                  <c:v>0.0</c:v>
                </c:pt>
                <c:pt idx="4363">
                  <c:v>0.0</c:v>
                </c:pt>
                <c:pt idx="4364">
                  <c:v>0.0</c:v>
                </c:pt>
                <c:pt idx="4365">
                  <c:v>0.0</c:v>
                </c:pt>
                <c:pt idx="4366">
                  <c:v>0.0</c:v>
                </c:pt>
                <c:pt idx="4367">
                  <c:v>0.0</c:v>
                </c:pt>
                <c:pt idx="4368">
                  <c:v>0.0</c:v>
                </c:pt>
                <c:pt idx="4369">
                  <c:v>0.0</c:v>
                </c:pt>
                <c:pt idx="4370">
                  <c:v>0.0</c:v>
                </c:pt>
                <c:pt idx="4371">
                  <c:v>0.0</c:v>
                </c:pt>
                <c:pt idx="4372">
                  <c:v>0.0</c:v>
                </c:pt>
                <c:pt idx="4373">
                  <c:v>0.0</c:v>
                </c:pt>
                <c:pt idx="4374">
                  <c:v>0.0</c:v>
                </c:pt>
                <c:pt idx="4375">
                  <c:v>0.0</c:v>
                </c:pt>
                <c:pt idx="4376">
                  <c:v>0.0</c:v>
                </c:pt>
                <c:pt idx="4377">
                  <c:v>0.0</c:v>
                </c:pt>
                <c:pt idx="4378">
                  <c:v>0.0</c:v>
                </c:pt>
                <c:pt idx="4379">
                  <c:v>0.0</c:v>
                </c:pt>
                <c:pt idx="4380">
                  <c:v>0.0</c:v>
                </c:pt>
                <c:pt idx="4381">
                  <c:v>0.0</c:v>
                </c:pt>
                <c:pt idx="4382">
                  <c:v>0.0</c:v>
                </c:pt>
                <c:pt idx="4383">
                  <c:v>0.0</c:v>
                </c:pt>
                <c:pt idx="4384">
                  <c:v>0.0</c:v>
                </c:pt>
                <c:pt idx="4385">
                  <c:v>0.0</c:v>
                </c:pt>
                <c:pt idx="4386">
                  <c:v>0.0</c:v>
                </c:pt>
                <c:pt idx="4387">
                  <c:v>0.0</c:v>
                </c:pt>
                <c:pt idx="4388">
                  <c:v>0.0</c:v>
                </c:pt>
                <c:pt idx="4389">
                  <c:v>0.0</c:v>
                </c:pt>
                <c:pt idx="4390">
                  <c:v>0.0</c:v>
                </c:pt>
                <c:pt idx="4391">
                  <c:v>0.0</c:v>
                </c:pt>
                <c:pt idx="4392">
                  <c:v>0.0</c:v>
                </c:pt>
                <c:pt idx="4393">
                  <c:v>0.0</c:v>
                </c:pt>
                <c:pt idx="4394">
                  <c:v>0.0</c:v>
                </c:pt>
                <c:pt idx="4395">
                  <c:v>0.0</c:v>
                </c:pt>
                <c:pt idx="4396">
                  <c:v>0.0</c:v>
                </c:pt>
                <c:pt idx="4397">
                  <c:v>0.0</c:v>
                </c:pt>
                <c:pt idx="4398">
                  <c:v>0.0</c:v>
                </c:pt>
                <c:pt idx="4399">
                  <c:v>0.0</c:v>
                </c:pt>
                <c:pt idx="4400">
                  <c:v>0.0</c:v>
                </c:pt>
                <c:pt idx="4401">
                  <c:v>0.0</c:v>
                </c:pt>
                <c:pt idx="4402">
                  <c:v>0.0</c:v>
                </c:pt>
                <c:pt idx="4403">
                  <c:v>0.0</c:v>
                </c:pt>
                <c:pt idx="4404">
                  <c:v>0.0</c:v>
                </c:pt>
                <c:pt idx="4405">
                  <c:v>0.0</c:v>
                </c:pt>
                <c:pt idx="4406">
                  <c:v>0.0</c:v>
                </c:pt>
                <c:pt idx="4407">
                  <c:v>0.0</c:v>
                </c:pt>
                <c:pt idx="4408">
                  <c:v>0.0</c:v>
                </c:pt>
                <c:pt idx="4409">
                  <c:v>0.0</c:v>
                </c:pt>
                <c:pt idx="4410">
                  <c:v>0.0</c:v>
                </c:pt>
                <c:pt idx="4411">
                  <c:v>0.0</c:v>
                </c:pt>
                <c:pt idx="4412">
                  <c:v>0.0</c:v>
                </c:pt>
                <c:pt idx="4413">
                  <c:v>0.0</c:v>
                </c:pt>
                <c:pt idx="4414">
                  <c:v>0.0</c:v>
                </c:pt>
                <c:pt idx="4415">
                  <c:v>0.0</c:v>
                </c:pt>
                <c:pt idx="4416">
                  <c:v>0.0</c:v>
                </c:pt>
                <c:pt idx="4417">
                  <c:v>0.0</c:v>
                </c:pt>
                <c:pt idx="4418">
                  <c:v>0.0</c:v>
                </c:pt>
                <c:pt idx="4419">
                  <c:v>0.0</c:v>
                </c:pt>
                <c:pt idx="4420">
                  <c:v>0.0</c:v>
                </c:pt>
                <c:pt idx="4421">
                  <c:v>0.0</c:v>
                </c:pt>
                <c:pt idx="4422">
                  <c:v>0.0</c:v>
                </c:pt>
                <c:pt idx="4423">
                  <c:v>0.0</c:v>
                </c:pt>
                <c:pt idx="4424">
                  <c:v>0.0</c:v>
                </c:pt>
                <c:pt idx="4425">
                  <c:v>0.0</c:v>
                </c:pt>
                <c:pt idx="4426">
                  <c:v>0.0</c:v>
                </c:pt>
                <c:pt idx="4427">
                  <c:v>0.0</c:v>
                </c:pt>
                <c:pt idx="4428">
                  <c:v>0.0</c:v>
                </c:pt>
                <c:pt idx="4429">
                  <c:v>0.0</c:v>
                </c:pt>
                <c:pt idx="4430">
                  <c:v>0.0</c:v>
                </c:pt>
                <c:pt idx="4431">
                  <c:v>0.0</c:v>
                </c:pt>
                <c:pt idx="4432">
                  <c:v>0.0</c:v>
                </c:pt>
                <c:pt idx="4433">
                  <c:v>0.0</c:v>
                </c:pt>
                <c:pt idx="4434">
                  <c:v>0.0</c:v>
                </c:pt>
                <c:pt idx="4435">
                  <c:v>0.0</c:v>
                </c:pt>
                <c:pt idx="4436">
                  <c:v>0.0</c:v>
                </c:pt>
                <c:pt idx="4437">
                  <c:v>0.0</c:v>
                </c:pt>
                <c:pt idx="4438">
                  <c:v>0.0</c:v>
                </c:pt>
                <c:pt idx="4439">
                  <c:v>0.0</c:v>
                </c:pt>
                <c:pt idx="4440">
                  <c:v>0.0</c:v>
                </c:pt>
                <c:pt idx="4441">
                  <c:v>0.0</c:v>
                </c:pt>
                <c:pt idx="4442">
                  <c:v>0.0</c:v>
                </c:pt>
                <c:pt idx="4443">
                  <c:v>0.0</c:v>
                </c:pt>
                <c:pt idx="4444">
                  <c:v>0.0</c:v>
                </c:pt>
                <c:pt idx="4445">
                  <c:v>0.0</c:v>
                </c:pt>
                <c:pt idx="4446">
                  <c:v>0.0</c:v>
                </c:pt>
                <c:pt idx="4447">
                  <c:v>0.0</c:v>
                </c:pt>
                <c:pt idx="4448">
                  <c:v>0.0</c:v>
                </c:pt>
                <c:pt idx="4449">
                  <c:v>0.0</c:v>
                </c:pt>
                <c:pt idx="4450">
                  <c:v>0.0</c:v>
                </c:pt>
                <c:pt idx="4451">
                  <c:v>0.0</c:v>
                </c:pt>
                <c:pt idx="4452">
                  <c:v>0.0</c:v>
                </c:pt>
                <c:pt idx="4453">
                  <c:v>0.0</c:v>
                </c:pt>
                <c:pt idx="4454">
                  <c:v>0.0</c:v>
                </c:pt>
                <c:pt idx="4455">
                  <c:v>0.0</c:v>
                </c:pt>
                <c:pt idx="4456">
                  <c:v>0.0</c:v>
                </c:pt>
                <c:pt idx="4457">
                  <c:v>0.0</c:v>
                </c:pt>
                <c:pt idx="4458">
                  <c:v>0.0</c:v>
                </c:pt>
                <c:pt idx="4459">
                  <c:v>0.0</c:v>
                </c:pt>
                <c:pt idx="4460">
                  <c:v>0.0</c:v>
                </c:pt>
                <c:pt idx="4461">
                  <c:v>0.0</c:v>
                </c:pt>
                <c:pt idx="4462">
                  <c:v>0.0</c:v>
                </c:pt>
                <c:pt idx="4463">
                  <c:v>0.0</c:v>
                </c:pt>
                <c:pt idx="4464">
                  <c:v>0.0</c:v>
                </c:pt>
                <c:pt idx="4465">
                  <c:v>0.0</c:v>
                </c:pt>
                <c:pt idx="4466">
                  <c:v>0.0</c:v>
                </c:pt>
                <c:pt idx="4467">
                  <c:v>0.0</c:v>
                </c:pt>
                <c:pt idx="4468">
                  <c:v>0.0</c:v>
                </c:pt>
                <c:pt idx="4469">
                  <c:v>0.0</c:v>
                </c:pt>
                <c:pt idx="4470">
                  <c:v>0.0</c:v>
                </c:pt>
                <c:pt idx="4471">
                  <c:v>0.0</c:v>
                </c:pt>
                <c:pt idx="4472">
                  <c:v>0.0</c:v>
                </c:pt>
                <c:pt idx="4473">
                  <c:v>0.0</c:v>
                </c:pt>
                <c:pt idx="4474">
                  <c:v>0.0</c:v>
                </c:pt>
                <c:pt idx="4475">
                  <c:v>0.0</c:v>
                </c:pt>
                <c:pt idx="4476">
                  <c:v>0.0</c:v>
                </c:pt>
                <c:pt idx="4477">
                  <c:v>0.0</c:v>
                </c:pt>
                <c:pt idx="4478">
                  <c:v>0.0</c:v>
                </c:pt>
                <c:pt idx="4479">
                  <c:v>0.0</c:v>
                </c:pt>
                <c:pt idx="4480">
                  <c:v>0.0</c:v>
                </c:pt>
                <c:pt idx="4481">
                  <c:v>0.0</c:v>
                </c:pt>
                <c:pt idx="4482">
                  <c:v>0.0</c:v>
                </c:pt>
                <c:pt idx="4483">
                  <c:v>0.0</c:v>
                </c:pt>
                <c:pt idx="4484">
                  <c:v>0.0</c:v>
                </c:pt>
                <c:pt idx="4485">
                  <c:v>0.0</c:v>
                </c:pt>
                <c:pt idx="4486">
                  <c:v>0.0</c:v>
                </c:pt>
                <c:pt idx="4487">
                  <c:v>0.0</c:v>
                </c:pt>
                <c:pt idx="4488">
                  <c:v>0.0</c:v>
                </c:pt>
                <c:pt idx="4489">
                  <c:v>0.0</c:v>
                </c:pt>
                <c:pt idx="4490">
                  <c:v>0.0</c:v>
                </c:pt>
                <c:pt idx="4491">
                  <c:v>0.0</c:v>
                </c:pt>
                <c:pt idx="4492">
                  <c:v>0.0</c:v>
                </c:pt>
                <c:pt idx="4493">
                  <c:v>0.0</c:v>
                </c:pt>
                <c:pt idx="4494">
                  <c:v>0.0</c:v>
                </c:pt>
                <c:pt idx="4495">
                  <c:v>0.0</c:v>
                </c:pt>
                <c:pt idx="4496">
                  <c:v>0.0</c:v>
                </c:pt>
                <c:pt idx="4497">
                  <c:v>0.0</c:v>
                </c:pt>
                <c:pt idx="4498">
                  <c:v>0.0</c:v>
                </c:pt>
                <c:pt idx="4499">
                  <c:v>0.0</c:v>
                </c:pt>
                <c:pt idx="4500">
                  <c:v>0.0</c:v>
                </c:pt>
                <c:pt idx="4501">
                  <c:v>0.0</c:v>
                </c:pt>
                <c:pt idx="4502">
                  <c:v>0.0</c:v>
                </c:pt>
                <c:pt idx="4503">
                  <c:v>0.0</c:v>
                </c:pt>
                <c:pt idx="4504">
                  <c:v>0.0</c:v>
                </c:pt>
                <c:pt idx="4505">
                  <c:v>0.0</c:v>
                </c:pt>
                <c:pt idx="4506">
                  <c:v>0.0</c:v>
                </c:pt>
                <c:pt idx="4507">
                  <c:v>0.0</c:v>
                </c:pt>
                <c:pt idx="4508">
                  <c:v>0.0</c:v>
                </c:pt>
                <c:pt idx="4509">
                  <c:v>0.0</c:v>
                </c:pt>
                <c:pt idx="4510">
                  <c:v>0.0</c:v>
                </c:pt>
                <c:pt idx="4511">
                  <c:v>0.0</c:v>
                </c:pt>
                <c:pt idx="4512">
                  <c:v>0.0</c:v>
                </c:pt>
                <c:pt idx="4513">
                  <c:v>0.0</c:v>
                </c:pt>
                <c:pt idx="4514">
                  <c:v>0.0</c:v>
                </c:pt>
                <c:pt idx="4515">
                  <c:v>0.0</c:v>
                </c:pt>
              </c:numCache>
            </c:numRef>
          </c:val>
        </c:ser>
        <c:dLbls>
          <c:showLegendKey val="0"/>
          <c:showVal val="0"/>
          <c:showCatName val="0"/>
          <c:showSerName val="0"/>
          <c:showPercent val="0"/>
          <c:showBubbleSize val="0"/>
        </c:dLbls>
        <c:gapWidth val="150"/>
        <c:axId val="-2070341528"/>
        <c:axId val="-2130847816"/>
      </c:barChart>
      <c:catAx>
        <c:axId val="-2070341528"/>
        <c:scaling>
          <c:orientation val="minMax"/>
        </c:scaling>
        <c:delete val="0"/>
        <c:axPos val="b"/>
        <c:title>
          <c:tx>
            <c:rich>
              <a:bodyPr/>
              <a:lstStyle/>
              <a:p>
                <a:pPr>
                  <a:defRPr sz="1200">
                    <a:latin typeface="Calibri" panose="020F0502020204030204" pitchFamily="34" charset="0"/>
                  </a:defRPr>
                </a:pPr>
                <a:r>
                  <a:rPr lang="en-US" sz="1200">
                    <a:latin typeface="Calibri" panose="020F0502020204030204" pitchFamily="34" charset="0"/>
                  </a:rPr>
                  <a:t>Individual Facilities</a:t>
                </a:r>
              </a:p>
            </c:rich>
          </c:tx>
          <c:layout/>
          <c:overlay val="0"/>
        </c:title>
        <c:majorTickMark val="out"/>
        <c:minorTickMark val="none"/>
        <c:tickLblPos val="nextTo"/>
        <c:crossAx val="-2130847816"/>
        <c:crosses val="autoZero"/>
        <c:auto val="1"/>
        <c:lblAlgn val="ctr"/>
        <c:lblOffset val="100"/>
        <c:noMultiLvlLbl val="0"/>
      </c:catAx>
      <c:valAx>
        <c:axId val="-2130847816"/>
        <c:scaling>
          <c:orientation val="minMax"/>
          <c:max val="10.0"/>
        </c:scaling>
        <c:delete val="0"/>
        <c:axPos val="l"/>
        <c:title>
          <c:tx>
            <c:rich>
              <a:bodyPr rot="-5400000" vert="horz"/>
              <a:lstStyle/>
              <a:p>
                <a:pPr>
                  <a:defRPr sz="1200">
                    <a:latin typeface="Calibri" panose="020F0502020204030204" pitchFamily="34" charset="0"/>
                  </a:defRPr>
                </a:pPr>
                <a:r>
                  <a:rPr lang="en-US" sz="1200">
                    <a:latin typeface="Calibri" panose="020F0502020204030204" pitchFamily="34" charset="0"/>
                  </a:rPr>
                  <a:t>EID Tests per Day.</a:t>
                </a:r>
              </a:p>
            </c:rich>
          </c:tx>
          <c:layout/>
          <c:overlay val="0"/>
        </c:title>
        <c:numFmt formatCode="General" sourceLinked="1"/>
        <c:majorTickMark val="out"/>
        <c:minorTickMark val="none"/>
        <c:tickLblPos val="nextTo"/>
        <c:crossAx val="-2070341528"/>
        <c:crosses val="autoZero"/>
        <c:crossBetween val="between"/>
      </c:valAx>
    </c:plotArea>
    <c:plotVisOnly val="1"/>
    <c:dispBlanksAs val="gap"/>
    <c:showDLblsOverMax val="0"/>
  </c:chart>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latin typeface="Calibri" panose="020F0502020204030204" pitchFamily="34" charset="0"/>
              </a:defRPr>
            </a:pPr>
            <a:r>
              <a:rPr lang="en-US" sz="1400" dirty="0">
                <a:latin typeface="Calibri" panose="020F0502020204030204" pitchFamily="34" charset="0"/>
              </a:rPr>
              <a:t>Country</a:t>
            </a:r>
            <a:r>
              <a:rPr lang="en-US" sz="1400" baseline="0" dirty="0">
                <a:latin typeface="Calibri" panose="020F0502020204030204" pitchFamily="34" charset="0"/>
              </a:rPr>
              <a:t> #1</a:t>
            </a:r>
            <a:endParaRPr lang="en-US" sz="1400" dirty="0">
              <a:latin typeface="Calibri" panose="020F0502020204030204" pitchFamily="34" charset="0"/>
            </a:endParaRPr>
          </a:p>
        </c:rich>
      </c:tx>
      <c:layout>
        <c:manualLayout>
          <c:xMode val="edge"/>
          <c:yMode val="edge"/>
          <c:x val="0.419520997375328"/>
          <c:y val="0.115957378815409"/>
        </c:manualLayout>
      </c:layout>
      <c:overlay val="0"/>
    </c:title>
    <c:autoTitleDeleted val="0"/>
    <c:plotArea>
      <c:layout>
        <c:manualLayout>
          <c:layoutTarget val="inner"/>
          <c:xMode val="edge"/>
          <c:yMode val="edge"/>
          <c:x val="0.127984929303192"/>
          <c:y val="0.194803514144065"/>
          <c:w val="0.836497544661756"/>
          <c:h val="0.586386191825603"/>
        </c:manualLayout>
      </c:layout>
      <c:barChart>
        <c:barDir val="col"/>
        <c:grouping val="clustered"/>
        <c:varyColors val="0"/>
        <c:ser>
          <c:idx val="0"/>
          <c:order val="0"/>
          <c:tx>
            <c:strRef>
              <c:f>Uganda!$N$1</c:f>
              <c:strCache>
                <c:ptCount val="1"/>
                <c:pt idx="0">
                  <c:v>EID Tests per Day</c:v>
                </c:pt>
              </c:strCache>
            </c:strRef>
          </c:tx>
          <c:invertIfNegative val="0"/>
          <c:val>
            <c:numRef>
              <c:f>Uganda!$N$2:$N$1682</c:f>
              <c:numCache>
                <c:formatCode>General</c:formatCode>
                <c:ptCount val="1681"/>
                <c:pt idx="0">
                  <c:v>100.158875</c:v>
                </c:pt>
                <c:pt idx="1">
                  <c:v>15.142625</c:v>
                </c:pt>
                <c:pt idx="2">
                  <c:v>13.80679166666667</c:v>
                </c:pt>
                <c:pt idx="3">
                  <c:v>12.71904166666667</c:v>
                </c:pt>
                <c:pt idx="4">
                  <c:v>11.25916666666667</c:v>
                </c:pt>
                <c:pt idx="5">
                  <c:v>11.16375</c:v>
                </c:pt>
                <c:pt idx="6">
                  <c:v>9.102750000000002</c:v>
                </c:pt>
                <c:pt idx="7">
                  <c:v>8.558875</c:v>
                </c:pt>
                <c:pt idx="8">
                  <c:v>7.432958333333337</c:v>
                </c:pt>
                <c:pt idx="9">
                  <c:v>6.822291666666667</c:v>
                </c:pt>
                <c:pt idx="10">
                  <c:v>6.726875000000001</c:v>
                </c:pt>
                <c:pt idx="11">
                  <c:v>6.688708333333336</c:v>
                </c:pt>
                <c:pt idx="12">
                  <c:v>6.249791666666667</c:v>
                </c:pt>
                <c:pt idx="13">
                  <c:v>6.135291666666666</c:v>
                </c:pt>
                <c:pt idx="14">
                  <c:v>6.049416666666668</c:v>
                </c:pt>
                <c:pt idx="15">
                  <c:v>6.01125</c:v>
                </c:pt>
                <c:pt idx="16">
                  <c:v>6.01125</c:v>
                </c:pt>
                <c:pt idx="17">
                  <c:v>5.982625</c:v>
                </c:pt>
                <c:pt idx="18">
                  <c:v>5.982625</c:v>
                </c:pt>
                <c:pt idx="19">
                  <c:v>5.868124999999981</c:v>
                </c:pt>
                <c:pt idx="20">
                  <c:v>5.696375000000001</c:v>
                </c:pt>
                <c:pt idx="21">
                  <c:v>5.696375000000001</c:v>
                </c:pt>
                <c:pt idx="22">
                  <c:v>5.686833333333333</c:v>
                </c:pt>
                <c:pt idx="23">
                  <c:v>5.610499999999996</c:v>
                </c:pt>
                <c:pt idx="24">
                  <c:v>5.28608333333334</c:v>
                </c:pt>
                <c:pt idx="25">
                  <c:v>5.018916666666644</c:v>
                </c:pt>
                <c:pt idx="26">
                  <c:v>4.97120833333334</c:v>
                </c:pt>
                <c:pt idx="27">
                  <c:v>4.904416666666664</c:v>
                </c:pt>
                <c:pt idx="28">
                  <c:v>4.809</c:v>
                </c:pt>
                <c:pt idx="29">
                  <c:v>4.704041666666667</c:v>
                </c:pt>
                <c:pt idx="30">
                  <c:v>4.074291666666666</c:v>
                </c:pt>
                <c:pt idx="31">
                  <c:v>3.978874999999999</c:v>
                </c:pt>
                <c:pt idx="32">
                  <c:v>3.883458333333333</c:v>
                </c:pt>
                <c:pt idx="33">
                  <c:v>3.692624999999999</c:v>
                </c:pt>
                <c:pt idx="34">
                  <c:v>3.625833333333333</c:v>
                </c:pt>
                <c:pt idx="35">
                  <c:v>3.578125</c:v>
                </c:pt>
                <c:pt idx="36">
                  <c:v>3.568583333333334</c:v>
                </c:pt>
                <c:pt idx="37">
                  <c:v>3.492249999999986</c:v>
                </c:pt>
                <c:pt idx="38">
                  <c:v>3.473166666666667</c:v>
                </c:pt>
                <c:pt idx="39">
                  <c:v>3.396833333333332</c:v>
                </c:pt>
                <c:pt idx="40">
                  <c:v>3.3205</c:v>
                </c:pt>
                <c:pt idx="41">
                  <c:v>3.244166666666667</c:v>
                </c:pt>
                <c:pt idx="42">
                  <c:v>3.196458333333319</c:v>
                </c:pt>
                <c:pt idx="43">
                  <c:v>3.091499999999999</c:v>
                </c:pt>
                <c:pt idx="44">
                  <c:v>2.976999999999999</c:v>
                </c:pt>
                <c:pt idx="45">
                  <c:v>2.957916666666667</c:v>
                </c:pt>
                <c:pt idx="46">
                  <c:v>2.891125</c:v>
                </c:pt>
                <c:pt idx="47">
                  <c:v>2.891125</c:v>
                </c:pt>
                <c:pt idx="48">
                  <c:v>2.881583333333333</c:v>
                </c:pt>
                <c:pt idx="49">
                  <c:v>2.776625</c:v>
                </c:pt>
                <c:pt idx="50">
                  <c:v>2.767083333333334</c:v>
                </c:pt>
                <c:pt idx="51">
                  <c:v>2.748</c:v>
                </c:pt>
                <c:pt idx="52">
                  <c:v>2.709833333333333</c:v>
                </c:pt>
                <c:pt idx="53">
                  <c:v>2.623958333333333</c:v>
                </c:pt>
                <c:pt idx="54">
                  <c:v>2.614416666666667</c:v>
                </c:pt>
                <c:pt idx="55">
                  <c:v>2.566708333333333</c:v>
                </c:pt>
                <c:pt idx="56">
                  <c:v>2.538083333333333</c:v>
                </c:pt>
                <c:pt idx="57">
                  <c:v>2.528541666666667</c:v>
                </c:pt>
                <c:pt idx="58">
                  <c:v>2.519</c:v>
                </c:pt>
                <c:pt idx="59">
                  <c:v>2.490375</c:v>
                </c:pt>
                <c:pt idx="60">
                  <c:v>2.471291666666667</c:v>
                </c:pt>
                <c:pt idx="61">
                  <c:v>2.452208333333319</c:v>
                </c:pt>
                <c:pt idx="62">
                  <c:v>2.4045</c:v>
                </c:pt>
                <c:pt idx="63">
                  <c:v>2.385416666666666</c:v>
                </c:pt>
                <c:pt idx="64">
                  <c:v>2.375874999999997</c:v>
                </c:pt>
                <c:pt idx="65">
                  <c:v>2.299541666666667</c:v>
                </c:pt>
                <c:pt idx="66">
                  <c:v>2.251833333333333</c:v>
                </c:pt>
                <c:pt idx="67">
                  <c:v>2.204125</c:v>
                </c:pt>
                <c:pt idx="68">
                  <c:v>2.204125</c:v>
                </c:pt>
                <c:pt idx="69">
                  <c:v>2.156416666666666</c:v>
                </c:pt>
                <c:pt idx="70">
                  <c:v>2.137333333333334</c:v>
                </c:pt>
                <c:pt idx="71">
                  <c:v>2.080083333333333</c:v>
                </c:pt>
                <c:pt idx="72">
                  <c:v>2.05145833333332</c:v>
                </c:pt>
                <c:pt idx="73">
                  <c:v>2.041916666666667</c:v>
                </c:pt>
                <c:pt idx="74">
                  <c:v>2.041916666666667</c:v>
                </c:pt>
                <c:pt idx="75">
                  <c:v>1.994208333333334</c:v>
                </c:pt>
                <c:pt idx="76">
                  <c:v>1.975125</c:v>
                </c:pt>
                <c:pt idx="77">
                  <c:v>1.965583333333333</c:v>
                </c:pt>
                <c:pt idx="78">
                  <c:v>1.956041666666667</c:v>
                </c:pt>
                <c:pt idx="79">
                  <c:v>1.927416666666667</c:v>
                </c:pt>
                <c:pt idx="80">
                  <c:v>1.927416666666667</c:v>
                </c:pt>
                <c:pt idx="81">
                  <c:v>1.927416666666667</c:v>
                </c:pt>
                <c:pt idx="82">
                  <c:v>1.917875</c:v>
                </c:pt>
                <c:pt idx="83">
                  <c:v>1.908333333333333</c:v>
                </c:pt>
                <c:pt idx="84">
                  <c:v>1.908333333333333</c:v>
                </c:pt>
                <c:pt idx="85">
                  <c:v>1.88925</c:v>
                </c:pt>
                <c:pt idx="86">
                  <c:v>1.879708333333333</c:v>
                </c:pt>
                <c:pt idx="87">
                  <c:v>1.870166666666667</c:v>
                </c:pt>
                <c:pt idx="88">
                  <c:v>1.851083333333333</c:v>
                </c:pt>
                <c:pt idx="89">
                  <c:v>1.851083333333333</c:v>
                </c:pt>
                <c:pt idx="90">
                  <c:v>1.832</c:v>
                </c:pt>
                <c:pt idx="91">
                  <c:v>1.793833333333333</c:v>
                </c:pt>
                <c:pt idx="92">
                  <c:v>1.793833333333333</c:v>
                </c:pt>
                <c:pt idx="93">
                  <c:v>1.793833333333333</c:v>
                </c:pt>
                <c:pt idx="94">
                  <c:v>1.755666666666667</c:v>
                </c:pt>
                <c:pt idx="95">
                  <c:v>1.755666666666667</c:v>
                </c:pt>
                <c:pt idx="96">
                  <c:v>1.746125</c:v>
                </c:pt>
                <c:pt idx="97">
                  <c:v>1.736583333333334</c:v>
                </c:pt>
                <c:pt idx="98">
                  <c:v>1.7175</c:v>
                </c:pt>
                <c:pt idx="99">
                  <c:v>1.698416666666667</c:v>
                </c:pt>
                <c:pt idx="100">
                  <c:v>1.679333333333333</c:v>
                </c:pt>
                <c:pt idx="101">
                  <c:v>1.679333333333333</c:v>
                </c:pt>
                <c:pt idx="102">
                  <c:v>1.679333333333333</c:v>
                </c:pt>
                <c:pt idx="103">
                  <c:v>1.622083333333333</c:v>
                </c:pt>
                <c:pt idx="104">
                  <c:v>1.622083333333333</c:v>
                </c:pt>
                <c:pt idx="105">
                  <c:v>1.622083333333333</c:v>
                </c:pt>
                <c:pt idx="106">
                  <c:v>1.612541666666666</c:v>
                </c:pt>
                <c:pt idx="107">
                  <c:v>1.593458333333334</c:v>
                </c:pt>
                <c:pt idx="108">
                  <c:v>1.583916666666667</c:v>
                </c:pt>
                <c:pt idx="109">
                  <c:v>1.583916666666667</c:v>
                </c:pt>
                <c:pt idx="110">
                  <c:v>1.564833333333333</c:v>
                </c:pt>
                <c:pt idx="111">
                  <c:v>1.536208333333334</c:v>
                </c:pt>
                <c:pt idx="112">
                  <c:v>1.507583333333333</c:v>
                </c:pt>
                <c:pt idx="113">
                  <c:v>1.498041666666667</c:v>
                </c:pt>
                <c:pt idx="114">
                  <c:v>1.4885</c:v>
                </c:pt>
                <c:pt idx="115">
                  <c:v>1.478958333333334</c:v>
                </c:pt>
                <c:pt idx="116">
                  <c:v>1.469416666666667</c:v>
                </c:pt>
                <c:pt idx="117">
                  <c:v>1.459875</c:v>
                </c:pt>
                <c:pt idx="118">
                  <c:v>1.440791666666666</c:v>
                </c:pt>
                <c:pt idx="119">
                  <c:v>1.43125</c:v>
                </c:pt>
                <c:pt idx="120">
                  <c:v>1.402625</c:v>
                </c:pt>
                <c:pt idx="121">
                  <c:v>1.345375</c:v>
                </c:pt>
                <c:pt idx="122">
                  <c:v>1.345375</c:v>
                </c:pt>
                <c:pt idx="123">
                  <c:v>1.335833333333333</c:v>
                </c:pt>
                <c:pt idx="124">
                  <c:v>1.31675</c:v>
                </c:pt>
                <c:pt idx="125">
                  <c:v>1.31675</c:v>
                </c:pt>
                <c:pt idx="126">
                  <c:v>1.31675</c:v>
                </c:pt>
                <c:pt idx="127">
                  <c:v>1.31675</c:v>
                </c:pt>
                <c:pt idx="128">
                  <c:v>1.307208333333333</c:v>
                </c:pt>
                <c:pt idx="129">
                  <c:v>1.307208333333333</c:v>
                </c:pt>
                <c:pt idx="130">
                  <c:v>1.307208333333333</c:v>
                </c:pt>
                <c:pt idx="131">
                  <c:v>1.307208333333333</c:v>
                </c:pt>
                <c:pt idx="132">
                  <c:v>1.288125</c:v>
                </c:pt>
                <c:pt idx="133">
                  <c:v>1.288125</c:v>
                </c:pt>
                <c:pt idx="134">
                  <c:v>1.288125</c:v>
                </c:pt>
                <c:pt idx="135">
                  <c:v>1.288125</c:v>
                </c:pt>
                <c:pt idx="136">
                  <c:v>1.278583333333334</c:v>
                </c:pt>
                <c:pt idx="137">
                  <c:v>1.278583333333334</c:v>
                </c:pt>
                <c:pt idx="138">
                  <c:v>1.269041666666667</c:v>
                </c:pt>
                <c:pt idx="139">
                  <c:v>1.2595</c:v>
                </c:pt>
                <c:pt idx="140">
                  <c:v>1.249958333333333</c:v>
                </c:pt>
                <c:pt idx="141">
                  <c:v>1.249958333333333</c:v>
                </c:pt>
                <c:pt idx="142">
                  <c:v>1.249958333333333</c:v>
                </c:pt>
                <c:pt idx="143">
                  <c:v>1.249958333333333</c:v>
                </c:pt>
                <c:pt idx="144">
                  <c:v>1.240416666666667</c:v>
                </c:pt>
                <c:pt idx="145">
                  <c:v>1.240416666666667</c:v>
                </c:pt>
                <c:pt idx="146">
                  <c:v>1.211791666666666</c:v>
                </c:pt>
                <c:pt idx="147">
                  <c:v>1.211791666666666</c:v>
                </c:pt>
                <c:pt idx="148">
                  <c:v>1.211791666666666</c:v>
                </c:pt>
                <c:pt idx="149">
                  <c:v>1.211791666666666</c:v>
                </c:pt>
                <c:pt idx="150">
                  <c:v>1.20225</c:v>
                </c:pt>
                <c:pt idx="151">
                  <c:v>1.20225</c:v>
                </c:pt>
                <c:pt idx="152">
                  <c:v>1.183166666666666</c:v>
                </c:pt>
                <c:pt idx="153">
                  <c:v>1.173625</c:v>
                </c:pt>
                <c:pt idx="154">
                  <c:v>1.173625</c:v>
                </c:pt>
                <c:pt idx="155">
                  <c:v>1.164083333333334</c:v>
                </c:pt>
                <c:pt idx="156">
                  <c:v>1.154541666666667</c:v>
                </c:pt>
                <c:pt idx="157">
                  <c:v>1.145</c:v>
                </c:pt>
                <c:pt idx="158">
                  <c:v>1.145</c:v>
                </c:pt>
                <c:pt idx="159">
                  <c:v>1.135458333333333</c:v>
                </c:pt>
                <c:pt idx="160">
                  <c:v>1.116375</c:v>
                </c:pt>
                <c:pt idx="161">
                  <c:v>1.116375</c:v>
                </c:pt>
                <c:pt idx="162">
                  <c:v>1.116375</c:v>
                </c:pt>
                <c:pt idx="163">
                  <c:v>1.106833333333333</c:v>
                </c:pt>
                <c:pt idx="164">
                  <c:v>1.106833333333333</c:v>
                </c:pt>
                <c:pt idx="165">
                  <c:v>1.106833333333333</c:v>
                </c:pt>
                <c:pt idx="166">
                  <c:v>1.097291666666667</c:v>
                </c:pt>
                <c:pt idx="167">
                  <c:v>1.08775</c:v>
                </c:pt>
                <c:pt idx="168">
                  <c:v>1.078208333333333</c:v>
                </c:pt>
                <c:pt idx="169">
                  <c:v>1.078208333333333</c:v>
                </c:pt>
                <c:pt idx="170">
                  <c:v>1.078208333333333</c:v>
                </c:pt>
                <c:pt idx="171">
                  <c:v>1.078208333333333</c:v>
                </c:pt>
                <c:pt idx="172">
                  <c:v>1.068666666666667</c:v>
                </c:pt>
                <c:pt idx="173">
                  <c:v>1.059125</c:v>
                </c:pt>
                <c:pt idx="174">
                  <c:v>1.059125</c:v>
                </c:pt>
                <c:pt idx="175">
                  <c:v>1.059125</c:v>
                </c:pt>
                <c:pt idx="176">
                  <c:v>1.059125</c:v>
                </c:pt>
                <c:pt idx="177">
                  <c:v>1.049583333333333</c:v>
                </c:pt>
                <c:pt idx="178">
                  <c:v>1.049583333333333</c:v>
                </c:pt>
                <c:pt idx="179">
                  <c:v>1.040041666666667</c:v>
                </c:pt>
                <c:pt idx="180">
                  <c:v>1.040041666666667</c:v>
                </c:pt>
                <c:pt idx="181">
                  <c:v>1.040041666666667</c:v>
                </c:pt>
                <c:pt idx="182">
                  <c:v>1.0305</c:v>
                </c:pt>
                <c:pt idx="183">
                  <c:v>1.020958333333334</c:v>
                </c:pt>
                <c:pt idx="184">
                  <c:v>1.011416666666667</c:v>
                </c:pt>
                <c:pt idx="185">
                  <c:v>1.011416666666667</c:v>
                </c:pt>
                <c:pt idx="186">
                  <c:v>1.011416666666667</c:v>
                </c:pt>
                <c:pt idx="187">
                  <c:v>1.011416666666667</c:v>
                </c:pt>
                <c:pt idx="188">
                  <c:v>1.001875</c:v>
                </c:pt>
                <c:pt idx="189">
                  <c:v>1.001875</c:v>
                </c:pt>
                <c:pt idx="190">
                  <c:v>0.992333333333333</c:v>
                </c:pt>
                <c:pt idx="191">
                  <c:v>0.992333333333333</c:v>
                </c:pt>
                <c:pt idx="192">
                  <c:v>0.992333333333333</c:v>
                </c:pt>
                <c:pt idx="193">
                  <c:v>0.982791666666667</c:v>
                </c:pt>
                <c:pt idx="194">
                  <c:v>0.982791666666667</c:v>
                </c:pt>
                <c:pt idx="195">
                  <c:v>0.97325</c:v>
                </c:pt>
                <c:pt idx="196">
                  <c:v>0.97325</c:v>
                </c:pt>
                <c:pt idx="197">
                  <c:v>0.963708333333333</c:v>
                </c:pt>
                <c:pt idx="198">
                  <c:v>0.963708333333333</c:v>
                </c:pt>
                <c:pt idx="199">
                  <c:v>0.944625</c:v>
                </c:pt>
                <c:pt idx="200">
                  <c:v>0.944625</c:v>
                </c:pt>
                <c:pt idx="201">
                  <c:v>0.944625</c:v>
                </c:pt>
                <c:pt idx="202">
                  <c:v>0.944625</c:v>
                </c:pt>
                <c:pt idx="203">
                  <c:v>0.935083333333333</c:v>
                </c:pt>
                <c:pt idx="204">
                  <c:v>0.935083333333333</c:v>
                </c:pt>
                <c:pt idx="205">
                  <c:v>0.925541666666667</c:v>
                </c:pt>
                <c:pt idx="206">
                  <c:v>0.916</c:v>
                </c:pt>
                <c:pt idx="207">
                  <c:v>0.906458333333333</c:v>
                </c:pt>
                <c:pt idx="208">
                  <c:v>0.896916666666667</c:v>
                </c:pt>
                <c:pt idx="209">
                  <c:v>0.896916666666667</c:v>
                </c:pt>
                <c:pt idx="210">
                  <c:v>0.896916666666667</c:v>
                </c:pt>
                <c:pt idx="211">
                  <c:v>0.896916666666667</c:v>
                </c:pt>
                <c:pt idx="212">
                  <c:v>0.896916666666667</c:v>
                </c:pt>
                <c:pt idx="213">
                  <c:v>0.896916666666667</c:v>
                </c:pt>
                <c:pt idx="214">
                  <c:v>0.896916666666667</c:v>
                </c:pt>
                <c:pt idx="215">
                  <c:v>0.896916666666667</c:v>
                </c:pt>
                <c:pt idx="216">
                  <c:v>0.887375</c:v>
                </c:pt>
                <c:pt idx="217">
                  <c:v>0.887375</c:v>
                </c:pt>
                <c:pt idx="218">
                  <c:v>0.887375</c:v>
                </c:pt>
                <c:pt idx="219">
                  <c:v>0.887375</c:v>
                </c:pt>
                <c:pt idx="220">
                  <c:v>0.887375</c:v>
                </c:pt>
                <c:pt idx="221">
                  <c:v>0.887375</c:v>
                </c:pt>
                <c:pt idx="222">
                  <c:v>0.887375</c:v>
                </c:pt>
                <c:pt idx="223">
                  <c:v>0.877833333333333</c:v>
                </c:pt>
                <c:pt idx="224">
                  <c:v>0.877833333333333</c:v>
                </c:pt>
                <c:pt idx="225">
                  <c:v>0.877833333333333</c:v>
                </c:pt>
                <c:pt idx="226">
                  <c:v>0.877833333333333</c:v>
                </c:pt>
                <c:pt idx="227">
                  <c:v>0.877833333333333</c:v>
                </c:pt>
                <c:pt idx="228">
                  <c:v>0.877833333333333</c:v>
                </c:pt>
                <c:pt idx="229">
                  <c:v>0.868291666666667</c:v>
                </c:pt>
                <c:pt idx="230">
                  <c:v>0.868291666666667</c:v>
                </c:pt>
                <c:pt idx="231">
                  <c:v>0.85875</c:v>
                </c:pt>
                <c:pt idx="232">
                  <c:v>0.85875</c:v>
                </c:pt>
                <c:pt idx="233">
                  <c:v>0.849208333333333</c:v>
                </c:pt>
                <c:pt idx="234">
                  <c:v>0.839666666666667</c:v>
                </c:pt>
                <c:pt idx="235">
                  <c:v>0.839666666666667</c:v>
                </c:pt>
                <c:pt idx="236">
                  <c:v>0.839666666666667</c:v>
                </c:pt>
                <c:pt idx="237">
                  <c:v>0.830125</c:v>
                </c:pt>
                <c:pt idx="238">
                  <c:v>0.830125</c:v>
                </c:pt>
                <c:pt idx="239">
                  <c:v>0.830125</c:v>
                </c:pt>
                <c:pt idx="240">
                  <c:v>0.830125</c:v>
                </c:pt>
                <c:pt idx="241">
                  <c:v>0.830125</c:v>
                </c:pt>
                <c:pt idx="242">
                  <c:v>0.820583333333333</c:v>
                </c:pt>
                <c:pt idx="243">
                  <c:v>0.820583333333333</c:v>
                </c:pt>
                <c:pt idx="244">
                  <c:v>0.820583333333333</c:v>
                </c:pt>
                <c:pt idx="245">
                  <c:v>0.820583333333333</c:v>
                </c:pt>
                <c:pt idx="246">
                  <c:v>0.820583333333333</c:v>
                </c:pt>
                <c:pt idx="247">
                  <c:v>0.811041666666667</c:v>
                </c:pt>
                <c:pt idx="248">
                  <c:v>0.811041666666667</c:v>
                </c:pt>
                <c:pt idx="249">
                  <c:v>0.811041666666667</c:v>
                </c:pt>
                <c:pt idx="250">
                  <c:v>0.8015</c:v>
                </c:pt>
                <c:pt idx="251">
                  <c:v>0.8015</c:v>
                </c:pt>
                <c:pt idx="252">
                  <c:v>0.8015</c:v>
                </c:pt>
                <c:pt idx="253">
                  <c:v>0.8015</c:v>
                </c:pt>
                <c:pt idx="254">
                  <c:v>0.8015</c:v>
                </c:pt>
                <c:pt idx="255">
                  <c:v>0.8015</c:v>
                </c:pt>
                <c:pt idx="256">
                  <c:v>0.8015</c:v>
                </c:pt>
                <c:pt idx="257">
                  <c:v>0.791958333333333</c:v>
                </c:pt>
                <c:pt idx="258">
                  <c:v>0.782416666666666</c:v>
                </c:pt>
                <c:pt idx="259">
                  <c:v>0.782416666666666</c:v>
                </c:pt>
                <c:pt idx="260">
                  <c:v>0.772875</c:v>
                </c:pt>
                <c:pt idx="261">
                  <c:v>0.772875</c:v>
                </c:pt>
                <c:pt idx="262">
                  <c:v>0.772875</c:v>
                </c:pt>
                <c:pt idx="263">
                  <c:v>0.763333333333333</c:v>
                </c:pt>
                <c:pt idx="264">
                  <c:v>0.763333333333333</c:v>
                </c:pt>
                <c:pt idx="265">
                  <c:v>0.763333333333333</c:v>
                </c:pt>
                <c:pt idx="266">
                  <c:v>0.763333333333333</c:v>
                </c:pt>
                <c:pt idx="267">
                  <c:v>0.763333333333333</c:v>
                </c:pt>
                <c:pt idx="268">
                  <c:v>0.753791666666667</c:v>
                </c:pt>
                <c:pt idx="269">
                  <c:v>0.753791666666667</c:v>
                </c:pt>
                <c:pt idx="270">
                  <c:v>0.753791666666667</c:v>
                </c:pt>
                <c:pt idx="271">
                  <c:v>0.753791666666667</c:v>
                </c:pt>
                <c:pt idx="272">
                  <c:v>0.753791666666667</c:v>
                </c:pt>
                <c:pt idx="273">
                  <c:v>0.753791666666667</c:v>
                </c:pt>
                <c:pt idx="274">
                  <c:v>0.753791666666667</c:v>
                </c:pt>
                <c:pt idx="275">
                  <c:v>0.74425</c:v>
                </c:pt>
                <c:pt idx="276">
                  <c:v>0.74425</c:v>
                </c:pt>
                <c:pt idx="277">
                  <c:v>0.74425</c:v>
                </c:pt>
                <c:pt idx="278">
                  <c:v>0.74425</c:v>
                </c:pt>
                <c:pt idx="279">
                  <c:v>0.74425</c:v>
                </c:pt>
                <c:pt idx="280">
                  <c:v>0.74425</c:v>
                </c:pt>
                <c:pt idx="281">
                  <c:v>0.734708333333334</c:v>
                </c:pt>
                <c:pt idx="282">
                  <c:v>0.734708333333334</c:v>
                </c:pt>
                <c:pt idx="283">
                  <c:v>0.725166666666666</c:v>
                </c:pt>
                <c:pt idx="284">
                  <c:v>0.725166666666666</c:v>
                </c:pt>
                <c:pt idx="285">
                  <c:v>0.725166666666666</c:v>
                </c:pt>
                <c:pt idx="286">
                  <c:v>0.725166666666666</c:v>
                </c:pt>
                <c:pt idx="287">
                  <c:v>0.715625</c:v>
                </c:pt>
                <c:pt idx="288">
                  <c:v>0.715625</c:v>
                </c:pt>
                <c:pt idx="289">
                  <c:v>0.715625</c:v>
                </c:pt>
                <c:pt idx="290">
                  <c:v>0.706083333333333</c:v>
                </c:pt>
                <c:pt idx="291">
                  <c:v>0.706083333333333</c:v>
                </c:pt>
                <c:pt idx="292">
                  <c:v>0.706083333333333</c:v>
                </c:pt>
                <c:pt idx="293">
                  <c:v>0.706083333333333</c:v>
                </c:pt>
                <c:pt idx="294">
                  <c:v>0.706083333333333</c:v>
                </c:pt>
                <c:pt idx="295">
                  <c:v>0.706083333333333</c:v>
                </c:pt>
                <c:pt idx="296">
                  <c:v>0.696541666666667</c:v>
                </c:pt>
                <c:pt idx="297">
                  <c:v>0.696541666666667</c:v>
                </c:pt>
                <c:pt idx="298">
                  <c:v>0.696541666666667</c:v>
                </c:pt>
                <c:pt idx="299">
                  <c:v>0.696541666666667</c:v>
                </c:pt>
                <c:pt idx="300">
                  <c:v>0.696541666666667</c:v>
                </c:pt>
                <c:pt idx="301">
                  <c:v>0.696541666666667</c:v>
                </c:pt>
                <c:pt idx="302">
                  <c:v>0.696541666666667</c:v>
                </c:pt>
                <c:pt idx="303">
                  <c:v>0.687</c:v>
                </c:pt>
                <c:pt idx="304">
                  <c:v>0.687</c:v>
                </c:pt>
                <c:pt idx="305">
                  <c:v>0.687</c:v>
                </c:pt>
                <c:pt idx="306">
                  <c:v>0.687</c:v>
                </c:pt>
                <c:pt idx="307">
                  <c:v>0.687</c:v>
                </c:pt>
                <c:pt idx="308">
                  <c:v>0.687</c:v>
                </c:pt>
                <c:pt idx="309">
                  <c:v>0.677458333333334</c:v>
                </c:pt>
                <c:pt idx="310">
                  <c:v>0.677458333333334</c:v>
                </c:pt>
                <c:pt idx="311">
                  <c:v>0.677458333333334</c:v>
                </c:pt>
                <c:pt idx="312">
                  <c:v>0.667916666666667</c:v>
                </c:pt>
                <c:pt idx="313">
                  <c:v>0.667916666666667</c:v>
                </c:pt>
                <c:pt idx="314">
                  <c:v>0.658375</c:v>
                </c:pt>
                <c:pt idx="315">
                  <c:v>0.658375</c:v>
                </c:pt>
                <c:pt idx="316">
                  <c:v>0.648833333333333</c:v>
                </c:pt>
                <c:pt idx="317">
                  <c:v>0.648833333333333</c:v>
                </c:pt>
                <c:pt idx="318">
                  <c:v>0.648833333333333</c:v>
                </c:pt>
                <c:pt idx="319">
                  <c:v>0.648833333333333</c:v>
                </c:pt>
                <c:pt idx="320">
                  <c:v>0.648833333333333</c:v>
                </c:pt>
                <c:pt idx="321">
                  <c:v>0.648833333333333</c:v>
                </c:pt>
                <c:pt idx="322">
                  <c:v>0.648833333333333</c:v>
                </c:pt>
                <c:pt idx="323">
                  <c:v>0.639291666666667</c:v>
                </c:pt>
                <c:pt idx="324">
                  <c:v>0.639291666666667</c:v>
                </c:pt>
                <c:pt idx="325">
                  <c:v>0.639291666666667</c:v>
                </c:pt>
                <c:pt idx="326">
                  <c:v>0.639291666666667</c:v>
                </c:pt>
                <c:pt idx="327">
                  <c:v>0.62975</c:v>
                </c:pt>
                <c:pt idx="328">
                  <c:v>0.62975</c:v>
                </c:pt>
                <c:pt idx="329">
                  <c:v>0.62975</c:v>
                </c:pt>
                <c:pt idx="330">
                  <c:v>0.62975</c:v>
                </c:pt>
                <c:pt idx="331">
                  <c:v>0.620208333333333</c:v>
                </c:pt>
                <c:pt idx="332">
                  <c:v>0.620208333333333</c:v>
                </c:pt>
                <c:pt idx="333">
                  <c:v>0.620208333333333</c:v>
                </c:pt>
                <c:pt idx="334">
                  <c:v>0.610666666666667</c:v>
                </c:pt>
                <c:pt idx="335">
                  <c:v>0.610666666666667</c:v>
                </c:pt>
                <c:pt idx="336">
                  <c:v>0.610666666666667</c:v>
                </c:pt>
                <c:pt idx="337">
                  <c:v>0.610666666666667</c:v>
                </c:pt>
                <c:pt idx="338">
                  <c:v>0.610666666666667</c:v>
                </c:pt>
                <c:pt idx="339">
                  <c:v>0.610666666666667</c:v>
                </c:pt>
                <c:pt idx="340">
                  <c:v>0.610666666666667</c:v>
                </c:pt>
                <c:pt idx="341">
                  <c:v>0.601125</c:v>
                </c:pt>
                <c:pt idx="342">
                  <c:v>0.601125</c:v>
                </c:pt>
                <c:pt idx="343">
                  <c:v>0.601125</c:v>
                </c:pt>
                <c:pt idx="344">
                  <c:v>0.601125</c:v>
                </c:pt>
                <c:pt idx="345">
                  <c:v>0.601125</c:v>
                </c:pt>
                <c:pt idx="346">
                  <c:v>0.601125</c:v>
                </c:pt>
                <c:pt idx="347">
                  <c:v>0.591583333333333</c:v>
                </c:pt>
                <c:pt idx="348">
                  <c:v>0.591583333333333</c:v>
                </c:pt>
                <c:pt idx="349">
                  <c:v>0.591583333333333</c:v>
                </c:pt>
                <c:pt idx="350">
                  <c:v>0.591583333333333</c:v>
                </c:pt>
                <c:pt idx="351">
                  <c:v>0.591583333333333</c:v>
                </c:pt>
                <c:pt idx="352">
                  <c:v>0.591583333333333</c:v>
                </c:pt>
                <c:pt idx="353">
                  <c:v>0.591583333333333</c:v>
                </c:pt>
                <c:pt idx="354">
                  <c:v>0.591583333333333</c:v>
                </c:pt>
                <c:pt idx="355">
                  <c:v>0.582041666666667</c:v>
                </c:pt>
                <c:pt idx="356">
                  <c:v>0.582041666666667</c:v>
                </c:pt>
                <c:pt idx="357">
                  <c:v>0.5725</c:v>
                </c:pt>
                <c:pt idx="358">
                  <c:v>0.5725</c:v>
                </c:pt>
                <c:pt idx="359">
                  <c:v>0.5725</c:v>
                </c:pt>
                <c:pt idx="360">
                  <c:v>0.5725</c:v>
                </c:pt>
                <c:pt idx="361">
                  <c:v>0.5725</c:v>
                </c:pt>
                <c:pt idx="362">
                  <c:v>0.562958333333333</c:v>
                </c:pt>
                <c:pt idx="363">
                  <c:v>0.562958333333333</c:v>
                </c:pt>
                <c:pt idx="364">
                  <c:v>0.562958333333333</c:v>
                </c:pt>
                <c:pt idx="365">
                  <c:v>0.562958333333333</c:v>
                </c:pt>
                <c:pt idx="366">
                  <c:v>0.562958333333333</c:v>
                </c:pt>
                <c:pt idx="367">
                  <c:v>0.562958333333333</c:v>
                </c:pt>
                <c:pt idx="368">
                  <c:v>0.553416666666667</c:v>
                </c:pt>
                <c:pt idx="369">
                  <c:v>0.553416666666667</c:v>
                </c:pt>
                <c:pt idx="370">
                  <c:v>0.553416666666667</c:v>
                </c:pt>
                <c:pt idx="371">
                  <c:v>0.553416666666667</c:v>
                </c:pt>
                <c:pt idx="372">
                  <c:v>0.553416666666667</c:v>
                </c:pt>
                <c:pt idx="373">
                  <c:v>0.553416666666667</c:v>
                </c:pt>
                <c:pt idx="374">
                  <c:v>0.553416666666667</c:v>
                </c:pt>
                <c:pt idx="375">
                  <c:v>0.543875</c:v>
                </c:pt>
                <c:pt idx="376">
                  <c:v>0.543875</c:v>
                </c:pt>
                <c:pt idx="377">
                  <c:v>0.543875</c:v>
                </c:pt>
                <c:pt idx="378">
                  <c:v>0.543875</c:v>
                </c:pt>
                <c:pt idx="379">
                  <c:v>0.534333333333333</c:v>
                </c:pt>
                <c:pt idx="380">
                  <c:v>0.534333333333333</c:v>
                </c:pt>
                <c:pt idx="381">
                  <c:v>0.534333333333333</c:v>
                </c:pt>
                <c:pt idx="382">
                  <c:v>0.534333333333333</c:v>
                </c:pt>
                <c:pt idx="383">
                  <c:v>0.534333333333333</c:v>
                </c:pt>
                <c:pt idx="384">
                  <c:v>0.524791666666667</c:v>
                </c:pt>
                <c:pt idx="385">
                  <c:v>0.524791666666667</c:v>
                </c:pt>
                <c:pt idx="386">
                  <c:v>0.524791666666667</c:v>
                </c:pt>
                <c:pt idx="387">
                  <c:v>0.524791666666667</c:v>
                </c:pt>
                <c:pt idx="388">
                  <c:v>0.524791666666667</c:v>
                </c:pt>
                <c:pt idx="389">
                  <c:v>0.524791666666667</c:v>
                </c:pt>
                <c:pt idx="390">
                  <c:v>0.524791666666667</c:v>
                </c:pt>
                <c:pt idx="391">
                  <c:v>0.524791666666667</c:v>
                </c:pt>
                <c:pt idx="392">
                  <c:v>0.524791666666667</c:v>
                </c:pt>
                <c:pt idx="393">
                  <c:v>0.524791666666667</c:v>
                </c:pt>
                <c:pt idx="394">
                  <c:v>0.524791666666667</c:v>
                </c:pt>
                <c:pt idx="395">
                  <c:v>0.51525</c:v>
                </c:pt>
                <c:pt idx="396">
                  <c:v>0.51525</c:v>
                </c:pt>
                <c:pt idx="397">
                  <c:v>0.51525</c:v>
                </c:pt>
                <c:pt idx="398">
                  <c:v>0.51525</c:v>
                </c:pt>
                <c:pt idx="399">
                  <c:v>0.51525</c:v>
                </c:pt>
                <c:pt idx="400">
                  <c:v>0.51525</c:v>
                </c:pt>
                <c:pt idx="401">
                  <c:v>0.51525</c:v>
                </c:pt>
                <c:pt idx="402">
                  <c:v>0.51525</c:v>
                </c:pt>
                <c:pt idx="403">
                  <c:v>0.51525</c:v>
                </c:pt>
                <c:pt idx="404">
                  <c:v>0.51525</c:v>
                </c:pt>
                <c:pt idx="405">
                  <c:v>0.51525</c:v>
                </c:pt>
                <c:pt idx="406">
                  <c:v>0.505708333333333</c:v>
                </c:pt>
                <c:pt idx="407">
                  <c:v>0.505708333333333</c:v>
                </c:pt>
                <c:pt idx="408">
                  <c:v>0.505708333333333</c:v>
                </c:pt>
                <c:pt idx="409">
                  <c:v>0.505708333333333</c:v>
                </c:pt>
                <c:pt idx="410">
                  <c:v>0.505708333333333</c:v>
                </c:pt>
                <c:pt idx="411">
                  <c:v>0.505708333333333</c:v>
                </c:pt>
                <c:pt idx="412">
                  <c:v>0.505708333333333</c:v>
                </c:pt>
                <c:pt idx="413">
                  <c:v>0.505708333333333</c:v>
                </c:pt>
                <c:pt idx="414">
                  <c:v>0.496166666666667</c:v>
                </c:pt>
                <c:pt idx="415">
                  <c:v>0.496166666666667</c:v>
                </c:pt>
                <c:pt idx="416">
                  <c:v>0.496166666666667</c:v>
                </c:pt>
                <c:pt idx="417">
                  <c:v>0.496166666666667</c:v>
                </c:pt>
                <c:pt idx="418">
                  <c:v>0.496166666666667</c:v>
                </c:pt>
                <c:pt idx="419">
                  <c:v>0.496166666666667</c:v>
                </c:pt>
                <c:pt idx="420">
                  <c:v>0.496166666666667</c:v>
                </c:pt>
                <c:pt idx="421">
                  <c:v>0.486625</c:v>
                </c:pt>
                <c:pt idx="422">
                  <c:v>0.486625</c:v>
                </c:pt>
                <c:pt idx="423">
                  <c:v>0.486625</c:v>
                </c:pt>
                <c:pt idx="424">
                  <c:v>0.486625</c:v>
                </c:pt>
                <c:pt idx="425">
                  <c:v>0.486625</c:v>
                </c:pt>
                <c:pt idx="426">
                  <c:v>0.486625</c:v>
                </c:pt>
                <c:pt idx="427">
                  <c:v>0.486625</c:v>
                </c:pt>
                <c:pt idx="428">
                  <c:v>0.486625</c:v>
                </c:pt>
                <c:pt idx="429">
                  <c:v>0.486625</c:v>
                </c:pt>
                <c:pt idx="430">
                  <c:v>0.486625</c:v>
                </c:pt>
                <c:pt idx="431">
                  <c:v>0.486625</c:v>
                </c:pt>
                <c:pt idx="432">
                  <c:v>0.486625</c:v>
                </c:pt>
                <c:pt idx="433">
                  <c:v>0.477083333333333</c:v>
                </c:pt>
                <c:pt idx="434">
                  <c:v>0.477083333333333</c:v>
                </c:pt>
                <c:pt idx="435">
                  <c:v>0.477083333333333</c:v>
                </c:pt>
                <c:pt idx="436">
                  <c:v>0.477083333333333</c:v>
                </c:pt>
                <c:pt idx="437">
                  <c:v>0.477083333333333</c:v>
                </c:pt>
                <c:pt idx="438">
                  <c:v>0.477083333333333</c:v>
                </c:pt>
                <c:pt idx="439">
                  <c:v>0.477083333333333</c:v>
                </c:pt>
                <c:pt idx="440">
                  <c:v>0.477083333333333</c:v>
                </c:pt>
                <c:pt idx="441">
                  <c:v>0.467541666666667</c:v>
                </c:pt>
                <c:pt idx="442">
                  <c:v>0.467541666666667</c:v>
                </c:pt>
                <c:pt idx="443">
                  <c:v>0.467541666666667</c:v>
                </c:pt>
                <c:pt idx="444">
                  <c:v>0.467541666666667</c:v>
                </c:pt>
                <c:pt idx="445">
                  <c:v>0.467541666666667</c:v>
                </c:pt>
                <c:pt idx="446">
                  <c:v>0.467541666666667</c:v>
                </c:pt>
                <c:pt idx="447">
                  <c:v>0.467541666666667</c:v>
                </c:pt>
                <c:pt idx="448">
                  <c:v>0.467541666666667</c:v>
                </c:pt>
                <c:pt idx="449">
                  <c:v>0.458</c:v>
                </c:pt>
                <c:pt idx="450">
                  <c:v>0.458</c:v>
                </c:pt>
                <c:pt idx="451">
                  <c:v>0.458</c:v>
                </c:pt>
                <c:pt idx="452">
                  <c:v>0.458</c:v>
                </c:pt>
                <c:pt idx="453">
                  <c:v>0.458</c:v>
                </c:pt>
                <c:pt idx="454">
                  <c:v>0.458</c:v>
                </c:pt>
                <c:pt idx="455">
                  <c:v>0.458</c:v>
                </c:pt>
                <c:pt idx="456">
                  <c:v>0.458</c:v>
                </c:pt>
                <c:pt idx="457">
                  <c:v>0.458</c:v>
                </c:pt>
                <c:pt idx="458">
                  <c:v>0.458</c:v>
                </c:pt>
                <c:pt idx="459">
                  <c:v>0.458</c:v>
                </c:pt>
                <c:pt idx="460">
                  <c:v>0.458</c:v>
                </c:pt>
                <c:pt idx="461">
                  <c:v>0.448458333333333</c:v>
                </c:pt>
                <c:pt idx="462">
                  <c:v>0.448458333333333</c:v>
                </c:pt>
                <c:pt idx="463">
                  <c:v>0.448458333333333</c:v>
                </c:pt>
                <c:pt idx="464">
                  <c:v>0.448458333333333</c:v>
                </c:pt>
                <c:pt idx="465">
                  <c:v>0.448458333333333</c:v>
                </c:pt>
                <c:pt idx="466">
                  <c:v>0.448458333333333</c:v>
                </c:pt>
                <c:pt idx="467">
                  <c:v>0.448458333333333</c:v>
                </c:pt>
                <c:pt idx="468">
                  <c:v>0.448458333333333</c:v>
                </c:pt>
                <c:pt idx="469">
                  <c:v>0.448458333333333</c:v>
                </c:pt>
                <c:pt idx="470">
                  <c:v>0.448458333333333</c:v>
                </c:pt>
                <c:pt idx="471">
                  <c:v>0.448458333333333</c:v>
                </c:pt>
                <c:pt idx="472">
                  <c:v>0.448458333333333</c:v>
                </c:pt>
                <c:pt idx="473">
                  <c:v>0.438916666666667</c:v>
                </c:pt>
                <c:pt idx="474">
                  <c:v>0.438916666666667</c:v>
                </c:pt>
                <c:pt idx="475">
                  <c:v>0.438916666666667</c:v>
                </c:pt>
                <c:pt idx="476">
                  <c:v>0.438916666666667</c:v>
                </c:pt>
                <c:pt idx="477">
                  <c:v>0.438916666666667</c:v>
                </c:pt>
                <c:pt idx="478">
                  <c:v>0.438916666666667</c:v>
                </c:pt>
                <c:pt idx="479">
                  <c:v>0.438916666666667</c:v>
                </c:pt>
                <c:pt idx="480">
                  <c:v>0.438916666666667</c:v>
                </c:pt>
                <c:pt idx="481">
                  <c:v>0.429375</c:v>
                </c:pt>
                <c:pt idx="482">
                  <c:v>0.429375</c:v>
                </c:pt>
                <c:pt idx="483">
                  <c:v>0.429375</c:v>
                </c:pt>
                <c:pt idx="484">
                  <c:v>0.429375</c:v>
                </c:pt>
                <c:pt idx="485">
                  <c:v>0.429375</c:v>
                </c:pt>
                <c:pt idx="486">
                  <c:v>0.429375</c:v>
                </c:pt>
                <c:pt idx="487">
                  <c:v>0.429375</c:v>
                </c:pt>
                <c:pt idx="488">
                  <c:v>0.429375</c:v>
                </c:pt>
                <c:pt idx="489">
                  <c:v>0.429375</c:v>
                </c:pt>
                <c:pt idx="490">
                  <c:v>0.429375</c:v>
                </c:pt>
                <c:pt idx="491">
                  <c:v>0.419833333333333</c:v>
                </c:pt>
                <c:pt idx="492">
                  <c:v>0.419833333333333</c:v>
                </c:pt>
                <c:pt idx="493">
                  <c:v>0.419833333333333</c:v>
                </c:pt>
                <c:pt idx="494">
                  <c:v>0.419833333333333</c:v>
                </c:pt>
                <c:pt idx="495">
                  <c:v>0.419833333333333</c:v>
                </c:pt>
                <c:pt idx="496">
                  <c:v>0.419833333333333</c:v>
                </c:pt>
                <c:pt idx="497">
                  <c:v>0.419833333333333</c:v>
                </c:pt>
                <c:pt idx="498">
                  <c:v>0.419833333333333</c:v>
                </c:pt>
                <c:pt idx="499">
                  <c:v>0.419833333333333</c:v>
                </c:pt>
                <c:pt idx="500">
                  <c:v>0.419833333333333</c:v>
                </c:pt>
                <c:pt idx="501">
                  <c:v>0.419833333333333</c:v>
                </c:pt>
                <c:pt idx="502">
                  <c:v>0.419833333333333</c:v>
                </c:pt>
                <c:pt idx="503">
                  <c:v>0.419833333333333</c:v>
                </c:pt>
                <c:pt idx="504">
                  <c:v>0.419833333333333</c:v>
                </c:pt>
                <c:pt idx="505">
                  <c:v>0.419833333333333</c:v>
                </c:pt>
                <c:pt idx="506">
                  <c:v>0.419833333333333</c:v>
                </c:pt>
                <c:pt idx="507">
                  <c:v>0.419833333333333</c:v>
                </c:pt>
                <c:pt idx="508">
                  <c:v>0.410291666666667</c:v>
                </c:pt>
                <c:pt idx="509">
                  <c:v>0.410291666666667</c:v>
                </c:pt>
                <c:pt idx="510">
                  <c:v>0.410291666666667</c:v>
                </c:pt>
                <c:pt idx="511">
                  <c:v>0.410291666666667</c:v>
                </c:pt>
                <c:pt idx="512">
                  <c:v>0.410291666666667</c:v>
                </c:pt>
                <c:pt idx="513">
                  <c:v>0.410291666666667</c:v>
                </c:pt>
                <c:pt idx="514">
                  <c:v>0.410291666666667</c:v>
                </c:pt>
                <c:pt idx="515">
                  <c:v>0.410291666666667</c:v>
                </c:pt>
                <c:pt idx="516">
                  <c:v>0.410291666666667</c:v>
                </c:pt>
                <c:pt idx="517">
                  <c:v>0.410291666666667</c:v>
                </c:pt>
                <c:pt idx="518">
                  <c:v>0.410291666666667</c:v>
                </c:pt>
                <c:pt idx="519">
                  <c:v>0.410291666666667</c:v>
                </c:pt>
                <c:pt idx="520">
                  <c:v>0.40075</c:v>
                </c:pt>
                <c:pt idx="521">
                  <c:v>0.40075</c:v>
                </c:pt>
                <c:pt idx="522">
                  <c:v>0.40075</c:v>
                </c:pt>
                <c:pt idx="523">
                  <c:v>0.40075</c:v>
                </c:pt>
                <c:pt idx="524">
                  <c:v>0.40075</c:v>
                </c:pt>
                <c:pt idx="525">
                  <c:v>0.40075</c:v>
                </c:pt>
                <c:pt idx="526">
                  <c:v>0.40075</c:v>
                </c:pt>
                <c:pt idx="527">
                  <c:v>0.40075</c:v>
                </c:pt>
                <c:pt idx="528">
                  <c:v>0.40075</c:v>
                </c:pt>
                <c:pt idx="529">
                  <c:v>0.40075</c:v>
                </c:pt>
                <c:pt idx="530">
                  <c:v>0.40075</c:v>
                </c:pt>
                <c:pt idx="531">
                  <c:v>0.40075</c:v>
                </c:pt>
                <c:pt idx="532">
                  <c:v>0.40075</c:v>
                </c:pt>
                <c:pt idx="533">
                  <c:v>0.40075</c:v>
                </c:pt>
                <c:pt idx="534">
                  <c:v>0.40075</c:v>
                </c:pt>
                <c:pt idx="535">
                  <c:v>0.40075</c:v>
                </c:pt>
                <c:pt idx="536">
                  <c:v>0.40075</c:v>
                </c:pt>
                <c:pt idx="537">
                  <c:v>0.40075</c:v>
                </c:pt>
                <c:pt idx="538">
                  <c:v>0.391208333333333</c:v>
                </c:pt>
                <c:pt idx="539">
                  <c:v>0.391208333333333</c:v>
                </c:pt>
                <c:pt idx="540">
                  <c:v>0.391208333333333</c:v>
                </c:pt>
                <c:pt idx="541">
                  <c:v>0.391208333333333</c:v>
                </c:pt>
                <c:pt idx="542">
                  <c:v>0.391208333333333</c:v>
                </c:pt>
                <c:pt idx="543">
                  <c:v>0.391208333333333</c:v>
                </c:pt>
                <c:pt idx="544">
                  <c:v>0.391208333333333</c:v>
                </c:pt>
                <c:pt idx="545">
                  <c:v>0.391208333333333</c:v>
                </c:pt>
                <c:pt idx="546">
                  <c:v>0.391208333333333</c:v>
                </c:pt>
                <c:pt idx="547">
                  <c:v>0.391208333333333</c:v>
                </c:pt>
                <c:pt idx="548">
                  <c:v>0.391208333333333</c:v>
                </c:pt>
                <c:pt idx="549">
                  <c:v>0.391208333333333</c:v>
                </c:pt>
                <c:pt idx="550">
                  <c:v>0.391208333333333</c:v>
                </c:pt>
                <c:pt idx="551">
                  <c:v>0.391208333333333</c:v>
                </c:pt>
                <c:pt idx="552">
                  <c:v>0.391208333333333</c:v>
                </c:pt>
                <c:pt idx="553">
                  <c:v>0.381666666666667</c:v>
                </c:pt>
                <c:pt idx="554">
                  <c:v>0.381666666666667</c:v>
                </c:pt>
                <c:pt idx="555">
                  <c:v>0.381666666666667</c:v>
                </c:pt>
                <c:pt idx="556">
                  <c:v>0.381666666666667</c:v>
                </c:pt>
                <c:pt idx="557">
                  <c:v>0.381666666666667</c:v>
                </c:pt>
                <c:pt idx="558">
                  <c:v>0.381666666666667</c:v>
                </c:pt>
                <c:pt idx="559">
                  <c:v>0.381666666666667</c:v>
                </c:pt>
                <c:pt idx="560">
                  <c:v>0.381666666666667</c:v>
                </c:pt>
                <c:pt idx="561">
                  <c:v>0.381666666666667</c:v>
                </c:pt>
                <c:pt idx="562">
                  <c:v>0.381666666666667</c:v>
                </c:pt>
                <c:pt idx="563">
                  <c:v>0.381666666666667</c:v>
                </c:pt>
                <c:pt idx="564">
                  <c:v>0.381666666666667</c:v>
                </c:pt>
                <c:pt idx="565">
                  <c:v>0.381666666666667</c:v>
                </c:pt>
                <c:pt idx="566">
                  <c:v>0.372125</c:v>
                </c:pt>
                <c:pt idx="567">
                  <c:v>0.372125</c:v>
                </c:pt>
                <c:pt idx="568">
                  <c:v>0.372125</c:v>
                </c:pt>
                <c:pt idx="569">
                  <c:v>0.372125</c:v>
                </c:pt>
                <c:pt idx="570">
                  <c:v>0.372125</c:v>
                </c:pt>
                <c:pt idx="571">
                  <c:v>0.372125</c:v>
                </c:pt>
                <c:pt idx="572">
                  <c:v>0.372125</c:v>
                </c:pt>
                <c:pt idx="573">
                  <c:v>0.372125</c:v>
                </c:pt>
                <c:pt idx="574">
                  <c:v>0.372125</c:v>
                </c:pt>
                <c:pt idx="575">
                  <c:v>0.372125</c:v>
                </c:pt>
                <c:pt idx="576">
                  <c:v>0.372125</c:v>
                </c:pt>
                <c:pt idx="577">
                  <c:v>0.372125</c:v>
                </c:pt>
                <c:pt idx="578">
                  <c:v>0.372125</c:v>
                </c:pt>
                <c:pt idx="579">
                  <c:v>0.372125</c:v>
                </c:pt>
                <c:pt idx="580">
                  <c:v>0.372125</c:v>
                </c:pt>
                <c:pt idx="581">
                  <c:v>0.362583333333333</c:v>
                </c:pt>
                <c:pt idx="582">
                  <c:v>0.362583333333333</c:v>
                </c:pt>
                <c:pt idx="583">
                  <c:v>0.362583333333333</c:v>
                </c:pt>
                <c:pt idx="584">
                  <c:v>0.362583333333333</c:v>
                </c:pt>
                <c:pt idx="585">
                  <c:v>0.362583333333333</c:v>
                </c:pt>
                <c:pt idx="586">
                  <c:v>0.362583333333333</c:v>
                </c:pt>
                <c:pt idx="587">
                  <c:v>0.362583333333333</c:v>
                </c:pt>
                <c:pt idx="588">
                  <c:v>0.362583333333333</c:v>
                </c:pt>
                <c:pt idx="589">
                  <c:v>0.362583333333333</c:v>
                </c:pt>
                <c:pt idx="590">
                  <c:v>0.362583333333333</c:v>
                </c:pt>
                <c:pt idx="591">
                  <c:v>0.362583333333333</c:v>
                </c:pt>
                <c:pt idx="592">
                  <c:v>0.362583333333333</c:v>
                </c:pt>
                <c:pt idx="593">
                  <c:v>0.362583333333333</c:v>
                </c:pt>
                <c:pt idx="594">
                  <c:v>0.362583333333333</c:v>
                </c:pt>
                <c:pt idx="595">
                  <c:v>0.362583333333333</c:v>
                </c:pt>
                <c:pt idx="596">
                  <c:v>0.362583333333333</c:v>
                </c:pt>
                <c:pt idx="597">
                  <c:v>0.362583333333333</c:v>
                </c:pt>
                <c:pt idx="598">
                  <c:v>0.353041666666667</c:v>
                </c:pt>
                <c:pt idx="599">
                  <c:v>0.353041666666667</c:v>
                </c:pt>
                <c:pt idx="600">
                  <c:v>0.353041666666667</c:v>
                </c:pt>
                <c:pt idx="601">
                  <c:v>0.353041666666667</c:v>
                </c:pt>
                <c:pt idx="602">
                  <c:v>0.353041666666667</c:v>
                </c:pt>
                <c:pt idx="603">
                  <c:v>0.353041666666667</c:v>
                </c:pt>
                <c:pt idx="604">
                  <c:v>0.353041666666667</c:v>
                </c:pt>
                <c:pt idx="605">
                  <c:v>0.353041666666667</c:v>
                </c:pt>
                <c:pt idx="606">
                  <c:v>0.353041666666667</c:v>
                </c:pt>
                <c:pt idx="607">
                  <c:v>0.353041666666667</c:v>
                </c:pt>
                <c:pt idx="608">
                  <c:v>0.3435</c:v>
                </c:pt>
                <c:pt idx="609">
                  <c:v>0.3435</c:v>
                </c:pt>
                <c:pt idx="610">
                  <c:v>0.3435</c:v>
                </c:pt>
                <c:pt idx="611">
                  <c:v>0.3435</c:v>
                </c:pt>
                <c:pt idx="612">
                  <c:v>0.3435</c:v>
                </c:pt>
                <c:pt idx="613">
                  <c:v>0.3435</c:v>
                </c:pt>
                <c:pt idx="614">
                  <c:v>0.3435</c:v>
                </c:pt>
                <c:pt idx="615">
                  <c:v>0.3435</c:v>
                </c:pt>
                <c:pt idx="616">
                  <c:v>0.3435</c:v>
                </c:pt>
                <c:pt idx="617">
                  <c:v>0.3435</c:v>
                </c:pt>
                <c:pt idx="618">
                  <c:v>0.3435</c:v>
                </c:pt>
                <c:pt idx="619">
                  <c:v>0.3435</c:v>
                </c:pt>
                <c:pt idx="620">
                  <c:v>0.3435</c:v>
                </c:pt>
                <c:pt idx="621">
                  <c:v>0.3435</c:v>
                </c:pt>
                <c:pt idx="622">
                  <c:v>0.3435</c:v>
                </c:pt>
                <c:pt idx="623">
                  <c:v>0.3435</c:v>
                </c:pt>
                <c:pt idx="624">
                  <c:v>0.333958333333333</c:v>
                </c:pt>
                <c:pt idx="625">
                  <c:v>0.333958333333333</c:v>
                </c:pt>
                <c:pt idx="626">
                  <c:v>0.333958333333333</c:v>
                </c:pt>
                <c:pt idx="627">
                  <c:v>0.333958333333333</c:v>
                </c:pt>
                <c:pt idx="628">
                  <c:v>0.333958333333333</c:v>
                </c:pt>
                <c:pt idx="629">
                  <c:v>0.333958333333333</c:v>
                </c:pt>
                <c:pt idx="630">
                  <c:v>0.333958333333333</c:v>
                </c:pt>
                <c:pt idx="631">
                  <c:v>0.333958333333333</c:v>
                </c:pt>
                <c:pt idx="632">
                  <c:v>0.333958333333333</c:v>
                </c:pt>
                <c:pt idx="633">
                  <c:v>0.333958333333333</c:v>
                </c:pt>
                <c:pt idx="634">
                  <c:v>0.333958333333333</c:v>
                </c:pt>
                <c:pt idx="635">
                  <c:v>0.333958333333333</c:v>
                </c:pt>
                <c:pt idx="636">
                  <c:v>0.324416666666667</c:v>
                </c:pt>
                <c:pt idx="637">
                  <c:v>0.324416666666667</c:v>
                </c:pt>
                <c:pt idx="638">
                  <c:v>0.324416666666667</c:v>
                </c:pt>
                <c:pt idx="639">
                  <c:v>0.324416666666667</c:v>
                </c:pt>
                <c:pt idx="640">
                  <c:v>0.324416666666667</c:v>
                </c:pt>
                <c:pt idx="641">
                  <c:v>0.324416666666667</c:v>
                </c:pt>
                <c:pt idx="642">
                  <c:v>0.324416666666667</c:v>
                </c:pt>
                <c:pt idx="643">
                  <c:v>0.324416666666667</c:v>
                </c:pt>
                <c:pt idx="644">
                  <c:v>0.324416666666667</c:v>
                </c:pt>
                <c:pt idx="645">
                  <c:v>0.324416666666667</c:v>
                </c:pt>
                <c:pt idx="646">
                  <c:v>0.324416666666667</c:v>
                </c:pt>
                <c:pt idx="647">
                  <c:v>0.324416666666667</c:v>
                </c:pt>
                <c:pt idx="648">
                  <c:v>0.324416666666667</c:v>
                </c:pt>
                <c:pt idx="649">
                  <c:v>0.324416666666667</c:v>
                </c:pt>
                <c:pt idx="650">
                  <c:v>0.324416666666667</c:v>
                </c:pt>
                <c:pt idx="651">
                  <c:v>0.324416666666667</c:v>
                </c:pt>
                <c:pt idx="652">
                  <c:v>0.324416666666667</c:v>
                </c:pt>
                <c:pt idx="653">
                  <c:v>0.324416666666667</c:v>
                </c:pt>
                <c:pt idx="654">
                  <c:v>0.324416666666667</c:v>
                </c:pt>
                <c:pt idx="655">
                  <c:v>0.324416666666667</c:v>
                </c:pt>
                <c:pt idx="656">
                  <c:v>0.324416666666667</c:v>
                </c:pt>
                <c:pt idx="657">
                  <c:v>0.314875</c:v>
                </c:pt>
                <c:pt idx="658">
                  <c:v>0.314875</c:v>
                </c:pt>
                <c:pt idx="659">
                  <c:v>0.314875</c:v>
                </c:pt>
                <c:pt idx="660">
                  <c:v>0.314875</c:v>
                </c:pt>
                <c:pt idx="661">
                  <c:v>0.314875</c:v>
                </c:pt>
                <c:pt idx="662">
                  <c:v>0.314875</c:v>
                </c:pt>
                <c:pt idx="663">
                  <c:v>0.314875</c:v>
                </c:pt>
                <c:pt idx="664">
                  <c:v>0.314875</c:v>
                </c:pt>
                <c:pt idx="665">
                  <c:v>0.314875</c:v>
                </c:pt>
                <c:pt idx="666">
                  <c:v>0.314875</c:v>
                </c:pt>
                <c:pt idx="667">
                  <c:v>0.314875</c:v>
                </c:pt>
                <c:pt idx="668">
                  <c:v>0.305333333333333</c:v>
                </c:pt>
                <c:pt idx="669">
                  <c:v>0.305333333333333</c:v>
                </c:pt>
                <c:pt idx="670">
                  <c:v>0.305333333333333</c:v>
                </c:pt>
                <c:pt idx="671">
                  <c:v>0.305333333333333</c:v>
                </c:pt>
                <c:pt idx="672">
                  <c:v>0.305333333333333</c:v>
                </c:pt>
                <c:pt idx="673">
                  <c:v>0.305333333333333</c:v>
                </c:pt>
                <c:pt idx="674">
                  <c:v>0.305333333333333</c:v>
                </c:pt>
                <c:pt idx="675">
                  <c:v>0.305333333333333</c:v>
                </c:pt>
                <c:pt idx="676">
                  <c:v>0.305333333333333</c:v>
                </c:pt>
                <c:pt idx="677">
                  <c:v>0.305333333333333</c:v>
                </c:pt>
                <c:pt idx="678">
                  <c:v>0.305333333333333</c:v>
                </c:pt>
                <c:pt idx="679">
                  <c:v>0.305333333333333</c:v>
                </c:pt>
                <c:pt idx="680">
                  <c:v>0.305333333333333</c:v>
                </c:pt>
                <c:pt idx="681">
                  <c:v>0.305333333333333</c:v>
                </c:pt>
                <c:pt idx="682">
                  <c:v>0.295791666666667</c:v>
                </c:pt>
                <c:pt idx="683">
                  <c:v>0.295791666666667</c:v>
                </c:pt>
                <c:pt idx="684">
                  <c:v>0.295791666666667</c:v>
                </c:pt>
                <c:pt idx="685">
                  <c:v>0.295791666666667</c:v>
                </c:pt>
                <c:pt idx="686">
                  <c:v>0.295791666666667</c:v>
                </c:pt>
                <c:pt idx="687">
                  <c:v>0.295791666666667</c:v>
                </c:pt>
                <c:pt idx="688">
                  <c:v>0.295791666666667</c:v>
                </c:pt>
                <c:pt idx="689">
                  <c:v>0.295791666666667</c:v>
                </c:pt>
                <c:pt idx="690">
                  <c:v>0.295791666666667</c:v>
                </c:pt>
                <c:pt idx="691">
                  <c:v>0.295791666666667</c:v>
                </c:pt>
                <c:pt idx="692">
                  <c:v>0.295791666666667</c:v>
                </c:pt>
                <c:pt idx="693">
                  <c:v>0.295791666666667</c:v>
                </c:pt>
                <c:pt idx="694">
                  <c:v>0.295791666666667</c:v>
                </c:pt>
                <c:pt idx="695">
                  <c:v>0.295791666666667</c:v>
                </c:pt>
                <c:pt idx="696">
                  <c:v>0.295791666666667</c:v>
                </c:pt>
                <c:pt idx="697">
                  <c:v>0.295791666666667</c:v>
                </c:pt>
                <c:pt idx="698">
                  <c:v>0.295791666666667</c:v>
                </c:pt>
                <c:pt idx="699">
                  <c:v>0.295791666666667</c:v>
                </c:pt>
                <c:pt idx="700">
                  <c:v>0.295791666666667</c:v>
                </c:pt>
                <c:pt idx="701">
                  <c:v>0.295791666666667</c:v>
                </c:pt>
                <c:pt idx="702">
                  <c:v>0.28625</c:v>
                </c:pt>
                <c:pt idx="703">
                  <c:v>0.28625</c:v>
                </c:pt>
                <c:pt idx="704">
                  <c:v>0.28625</c:v>
                </c:pt>
                <c:pt idx="705">
                  <c:v>0.28625</c:v>
                </c:pt>
                <c:pt idx="706">
                  <c:v>0.28625</c:v>
                </c:pt>
                <c:pt idx="707">
                  <c:v>0.28625</c:v>
                </c:pt>
                <c:pt idx="708">
                  <c:v>0.28625</c:v>
                </c:pt>
                <c:pt idx="709">
                  <c:v>0.28625</c:v>
                </c:pt>
                <c:pt idx="710">
                  <c:v>0.28625</c:v>
                </c:pt>
                <c:pt idx="711">
                  <c:v>0.28625</c:v>
                </c:pt>
                <c:pt idx="712">
                  <c:v>0.28625</c:v>
                </c:pt>
                <c:pt idx="713">
                  <c:v>0.28625</c:v>
                </c:pt>
                <c:pt idx="714">
                  <c:v>0.28625</c:v>
                </c:pt>
                <c:pt idx="715">
                  <c:v>0.28625</c:v>
                </c:pt>
                <c:pt idx="716">
                  <c:v>0.28625</c:v>
                </c:pt>
                <c:pt idx="717">
                  <c:v>0.28625</c:v>
                </c:pt>
                <c:pt idx="718">
                  <c:v>0.28625</c:v>
                </c:pt>
                <c:pt idx="719">
                  <c:v>0.276708333333333</c:v>
                </c:pt>
                <c:pt idx="720">
                  <c:v>0.276708333333333</c:v>
                </c:pt>
                <c:pt idx="721">
                  <c:v>0.276708333333333</c:v>
                </c:pt>
                <c:pt idx="722">
                  <c:v>0.276708333333333</c:v>
                </c:pt>
                <c:pt idx="723">
                  <c:v>0.276708333333333</c:v>
                </c:pt>
                <c:pt idx="724">
                  <c:v>0.276708333333333</c:v>
                </c:pt>
                <c:pt idx="725">
                  <c:v>0.276708333333333</c:v>
                </c:pt>
                <c:pt idx="726">
                  <c:v>0.276708333333333</c:v>
                </c:pt>
                <c:pt idx="727">
                  <c:v>0.276708333333333</c:v>
                </c:pt>
                <c:pt idx="728">
                  <c:v>0.276708333333333</c:v>
                </c:pt>
                <c:pt idx="729">
                  <c:v>0.276708333333333</c:v>
                </c:pt>
                <c:pt idx="730">
                  <c:v>0.276708333333333</c:v>
                </c:pt>
                <c:pt idx="731">
                  <c:v>0.276708333333333</c:v>
                </c:pt>
                <c:pt idx="732">
                  <c:v>0.276708333333333</c:v>
                </c:pt>
                <c:pt idx="733">
                  <c:v>0.276708333333333</c:v>
                </c:pt>
                <c:pt idx="734">
                  <c:v>0.276708333333333</c:v>
                </c:pt>
                <c:pt idx="735">
                  <c:v>0.276708333333333</c:v>
                </c:pt>
                <c:pt idx="736">
                  <c:v>0.276708333333333</c:v>
                </c:pt>
                <c:pt idx="737">
                  <c:v>0.276708333333333</c:v>
                </c:pt>
                <c:pt idx="738">
                  <c:v>0.276708333333333</c:v>
                </c:pt>
                <c:pt idx="739">
                  <c:v>0.267166666666667</c:v>
                </c:pt>
                <c:pt idx="740">
                  <c:v>0.267166666666667</c:v>
                </c:pt>
                <c:pt idx="741">
                  <c:v>0.267166666666667</c:v>
                </c:pt>
                <c:pt idx="742">
                  <c:v>0.267166666666667</c:v>
                </c:pt>
                <c:pt idx="743">
                  <c:v>0.267166666666667</c:v>
                </c:pt>
                <c:pt idx="744">
                  <c:v>0.267166666666667</c:v>
                </c:pt>
                <c:pt idx="745">
                  <c:v>0.267166666666667</c:v>
                </c:pt>
                <c:pt idx="746">
                  <c:v>0.267166666666667</c:v>
                </c:pt>
                <c:pt idx="747">
                  <c:v>0.267166666666667</c:v>
                </c:pt>
                <c:pt idx="748">
                  <c:v>0.267166666666667</c:v>
                </c:pt>
                <c:pt idx="749">
                  <c:v>0.267166666666667</c:v>
                </c:pt>
                <c:pt idx="750">
                  <c:v>0.267166666666667</c:v>
                </c:pt>
                <c:pt idx="751">
                  <c:v>0.267166666666667</c:v>
                </c:pt>
                <c:pt idx="752">
                  <c:v>0.267166666666667</c:v>
                </c:pt>
                <c:pt idx="753">
                  <c:v>0.267166666666667</c:v>
                </c:pt>
                <c:pt idx="754">
                  <c:v>0.257625</c:v>
                </c:pt>
                <c:pt idx="755">
                  <c:v>0.257625</c:v>
                </c:pt>
                <c:pt idx="756">
                  <c:v>0.257625</c:v>
                </c:pt>
                <c:pt idx="757">
                  <c:v>0.257625</c:v>
                </c:pt>
                <c:pt idx="758">
                  <c:v>0.257625</c:v>
                </c:pt>
                <c:pt idx="759">
                  <c:v>0.257625</c:v>
                </c:pt>
                <c:pt idx="760">
                  <c:v>0.257625</c:v>
                </c:pt>
                <c:pt idx="761">
                  <c:v>0.257625</c:v>
                </c:pt>
                <c:pt idx="762">
                  <c:v>0.257625</c:v>
                </c:pt>
                <c:pt idx="763">
                  <c:v>0.257625</c:v>
                </c:pt>
                <c:pt idx="764">
                  <c:v>0.257625</c:v>
                </c:pt>
                <c:pt idx="765">
                  <c:v>0.257625</c:v>
                </c:pt>
                <c:pt idx="766">
                  <c:v>0.257625</c:v>
                </c:pt>
                <c:pt idx="767">
                  <c:v>0.257625</c:v>
                </c:pt>
                <c:pt idx="768">
                  <c:v>0.257625</c:v>
                </c:pt>
                <c:pt idx="769">
                  <c:v>0.257625</c:v>
                </c:pt>
                <c:pt idx="770">
                  <c:v>0.257625</c:v>
                </c:pt>
                <c:pt idx="771">
                  <c:v>0.248083333333333</c:v>
                </c:pt>
                <c:pt idx="772">
                  <c:v>0.248083333333333</c:v>
                </c:pt>
                <c:pt idx="773">
                  <c:v>0.248083333333333</c:v>
                </c:pt>
                <c:pt idx="774">
                  <c:v>0.248083333333333</c:v>
                </c:pt>
                <c:pt idx="775">
                  <c:v>0.248083333333333</c:v>
                </c:pt>
                <c:pt idx="776">
                  <c:v>0.248083333333333</c:v>
                </c:pt>
                <c:pt idx="777">
                  <c:v>0.248083333333333</c:v>
                </c:pt>
                <c:pt idx="778">
                  <c:v>0.248083333333333</c:v>
                </c:pt>
                <c:pt idx="779">
                  <c:v>0.248083333333333</c:v>
                </c:pt>
                <c:pt idx="780">
                  <c:v>0.248083333333333</c:v>
                </c:pt>
                <c:pt idx="781">
                  <c:v>0.248083333333333</c:v>
                </c:pt>
                <c:pt idx="782">
                  <c:v>0.248083333333333</c:v>
                </c:pt>
                <c:pt idx="783">
                  <c:v>0.248083333333333</c:v>
                </c:pt>
                <c:pt idx="784">
                  <c:v>0.248083333333333</c:v>
                </c:pt>
                <c:pt idx="785">
                  <c:v>0.248083333333333</c:v>
                </c:pt>
                <c:pt idx="786">
                  <c:v>0.248083333333333</c:v>
                </c:pt>
                <c:pt idx="787">
                  <c:v>0.238541666666667</c:v>
                </c:pt>
                <c:pt idx="788">
                  <c:v>0.238541666666667</c:v>
                </c:pt>
                <c:pt idx="789">
                  <c:v>0.238541666666667</c:v>
                </c:pt>
                <c:pt idx="790">
                  <c:v>0.238541666666667</c:v>
                </c:pt>
                <c:pt idx="791">
                  <c:v>0.238541666666667</c:v>
                </c:pt>
                <c:pt idx="792">
                  <c:v>0.238541666666667</c:v>
                </c:pt>
                <c:pt idx="793">
                  <c:v>0.238541666666667</c:v>
                </c:pt>
                <c:pt idx="794">
                  <c:v>0.238541666666667</c:v>
                </c:pt>
                <c:pt idx="795">
                  <c:v>0.238541666666667</c:v>
                </c:pt>
                <c:pt idx="796">
                  <c:v>0.238541666666667</c:v>
                </c:pt>
                <c:pt idx="797">
                  <c:v>0.238541666666667</c:v>
                </c:pt>
                <c:pt idx="798">
                  <c:v>0.238541666666667</c:v>
                </c:pt>
                <c:pt idx="799">
                  <c:v>0.238541666666667</c:v>
                </c:pt>
                <c:pt idx="800">
                  <c:v>0.238541666666667</c:v>
                </c:pt>
                <c:pt idx="801">
                  <c:v>0.229</c:v>
                </c:pt>
                <c:pt idx="802">
                  <c:v>0.229</c:v>
                </c:pt>
                <c:pt idx="803">
                  <c:v>0.229</c:v>
                </c:pt>
                <c:pt idx="804">
                  <c:v>0.229</c:v>
                </c:pt>
                <c:pt idx="805">
                  <c:v>0.229</c:v>
                </c:pt>
                <c:pt idx="806">
                  <c:v>0.229</c:v>
                </c:pt>
                <c:pt idx="807">
                  <c:v>0.229</c:v>
                </c:pt>
                <c:pt idx="808">
                  <c:v>0.229</c:v>
                </c:pt>
                <c:pt idx="809">
                  <c:v>0.229</c:v>
                </c:pt>
                <c:pt idx="810">
                  <c:v>0.229</c:v>
                </c:pt>
                <c:pt idx="811">
                  <c:v>0.229</c:v>
                </c:pt>
                <c:pt idx="812">
                  <c:v>0.229</c:v>
                </c:pt>
                <c:pt idx="813">
                  <c:v>0.229</c:v>
                </c:pt>
                <c:pt idx="814">
                  <c:v>0.229</c:v>
                </c:pt>
                <c:pt idx="815">
                  <c:v>0.229</c:v>
                </c:pt>
                <c:pt idx="816">
                  <c:v>0.229</c:v>
                </c:pt>
                <c:pt idx="817">
                  <c:v>0.229</c:v>
                </c:pt>
                <c:pt idx="818">
                  <c:v>0.229</c:v>
                </c:pt>
                <c:pt idx="819">
                  <c:v>0.229</c:v>
                </c:pt>
                <c:pt idx="820">
                  <c:v>0.229</c:v>
                </c:pt>
                <c:pt idx="821">
                  <c:v>0.229</c:v>
                </c:pt>
                <c:pt idx="822">
                  <c:v>0.229</c:v>
                </c:pt>
                <c:pt idx="823">
                  <c:v>0.219458333333333</c:v>
                </c:pt>
                <c:pt idx="824">
                  <c:v>0.219458333333333</c:v>
                </c:pt>
                <c:pt idx="825">
                  <c:v>0.219458333333333</c:v>
                </c:pt>
                <c:pt idx="826">
                  <c:v>0.219458333333333</c:v>
                </c:pt>
                <c:pt idx="827">
                  <c:v>0.219458333333333</c:v>
                </c:pt>
                <c:pt idx="828">
                  <c:v>0.219458333333333</c:v>
                </c:pt>
                <c:pt idx="829">
                  <c:v>0.219458333333333</c:v>
                </c:pt>
                <c:pt idx="830">
                  <c:v>0.219458333333333</c:v>
                </c:pt>
                <c:pt idx="831">
                  <c:v>0.219458333333333</c:v>
                </c:pt>
                <c:pt idx="832">
                  <c:v>0.219458333333333</c:v>
                </c:pt>
                <c:pt idx="833">
                  <c:v>0.219458333333333</c:v>
                </c:pt>
                <c:pt idx="834">
                  <c:v>0.219458333333333</c:v>
                </c:pt>
                <c:pt idx="835">
                  <c:v>0.219458333333333</c:v>
                </c:pt>
                <c:pt idx="836">
                  <c:v>0.219458333333333</c:v>
                </c:pt>
                <c:pt idx="837">
                  <c:v>0.219458333333333</c:v>
                </c:pt>
                <c:pt idx="838">
                  <c:v>0.219458333333333</c:v>
                </c:pt>
                <c:pt idx="839">
                  <c:v>0.219458333333333</c:v>
                </c:pt>
                <c:pt idx="840">
                  <c:v>0.219458333333333</c:v>
                </c:pt>
                <c:pt idx="841">
                  <c:v>0.219458333333333</c:v>
                </c:pt>
                <c:pt idx="842">
                  <c:v>0.219458333333333</c:v>
                </c:pt>
                <c:pt idx="843">
                  <c:v>0.209916666666667</c:v>
                </c:pt>
                <c:pt idx="844">
                  <c:v>0.209916666666667</c:v>
                </c:pt>
                <c:pt idx="845">
                  <c:v>0.209916666666667</c:v>
                </c:pt>
                <c:pt idx="846">
                  <c:v>0.209916666666667</c:v>
                </c:pt>
                <c:pt idx="847">
                  <c:v>0.209916666666667</c:v>
                </c:pt>
                <c:pt idx="848">
                  <c:v>0.209916666666667</c:v>
                </c:pt>
                <c:pt idx="849">
                  <c:v>0.209916666666667</c:v>
                </c:pt>
                <c:pt idx="850">
                  <c:v>0.209916666666667</c:v>
                </c:pt>
                <c:pt idx="851">
                  <c:v>0.209916666666667</c:v>
                </c:pt>
                <c:pt idx="852">
                  <c:v>0.209916666666667</c:v>
                </c:pt>
                <c:pt idx="853">
                  <c:v>0.209916666666667</c:v>
                </c:pt>
                <c:pt idx="854">
                  <c:v>0.209916666666667</c:v>
                </c:pt>
                <c:pt idx="855">
                  <c:v>0.209916666666667</c:v>
                </c:pt>
                <c:pt idx="856">
                  <c:v>0.209916666666667</c:v>
                </c:pt>
                <c:pt idx="857">
                  <c:v>0.209916666666667</c:v>
                </c:pt>
                <c:pt idx="858">
                  <c:v>0.209916666666667</c:v>
                </c:pt>
                <c:pt idx="859">
                  <c:v>0.209916666666667</c:v>
                </c:pt>
                <c:pt idx="860">
                  <c:v>0.209916666666667</c:v>
                </c:pt>
                <c:pt idx="861">
                  <c:v>0.209916666666667</c:v>
                </c:pt>
                <c:pt idx="862">
                  <c:v>0.200375</c:v>
                </c:pt>
                <c:pt idx="863">
                  <c:v>0.200375</c:v>
                </c:pt>
                <c:pt idx="864">
                  <c:v>0.200375</c:v>
                </c:pt>
                <c:pt idx="865">
                  <c:v>0.200375</c:v>
                </c:pt>
                <c:pt idx="866">
                  <c:v>0.200375</c:v>
                </c:pt>
                <c:pt idx="867">
                  <c:v>0.200375</c:v>
                </c:pt>
                <c:pt idx="868">
                  <c:v>0.200375</c:v>
                </c:pt>
                <c:pt idx="869">
                  <c:v>0.200375</c:v>
                </c:pt>
                <c:pt idx="870">
                  <c:v>0.200375</c:v>
                </c:pt>
                <c:pt idx="871">
                  <c:v>0.200375</c:v>
                </c:pt>
                <c:pt idx="872">
                  <c:v>0.200375</c:v>
                </c:pt>
                <c:pt idx="873">
                  <c:v>0.200375</c:v>
                </c:pt>
                <c:pt idx="874">
                  <c:v>0.200375</c:v>
                </c:pt>
                <c:pt idx="875">
                  <c:v>0.200375</c:v>
                </c:pt>
                <c:pt idx="876">
                  <c:v>0.200375</c:v>
                </c:pt>
                <c:pt idx="877">
                  <c:v>0.200375</c:v>
                </c:pt>
                <c:pt idx="878">
                  <c:v>0.200375</c:v>
                </c:pt>
                <c:pt idx="879">
                  <c:v>0.200375</c:v>
                </c:pt>
                <c:pt idx="880">
                  <c:v>0.200375</c:v>
                </c:pt>
                <c:pt idx="881">
                  <c:v>0.200375</c:v>
                </c:pt>
                <c:pt idx="882">
                  <c:v>0.200375</c:v>
                </c:pt>
                <c:pt idx="883">
                  <c:v>0.190833333333333</c:v>
                </c:pt>
                <c:pt idx="884">
                  <c:v>0.190833333333333</c:v>
                </c:pt>
                <c:pt idx="885">
                  <c:v>0.190833333333333</c:v>
                </c:pt>
                <c:pt idx="886">
                  <c:v>0.190833333333333</c:v>
                </c:pt>
                <c:pt idx="887">
                  <c:v>0.190833333333333</c:v>
                </c:pt>
                <c:pt idx="888">
                  <c:v>0.190833333333333</c:v>
                </c:pt>
                <c:pt idx="889">
                  <c:v>0.190833333333333</c:v>
                </c:pt>
                <c:pt idx="890">
                  <c:v>0.190833333333333</c:v>
                </c:pt>
                <c:pt idx="891">
                  <c:v>0.190833333333333</c:v>
                </c:pt>
                <c:pt idx="892">
                  <c:v>0.190833333333333</c:v>
                </c:pt>
                <c:pt idx="893">
                  <c:v>0.190833333333333</c:v>
                </c:pt>
                <c:pt idx="894">
                  <c:v>0.190833333333333</c:v>
                </c:pt>
                <c:pt idx="895">
                  <c:v>0.190833333333333</c:v>
                </c:pt>
                <c:pt idx="896">
                  <c:v>0.190833333333333</c:v>
                </c:pt>
                <c:pt idx="897">
                  <c:v>0.190833333333333</c:v>
                </c:pt>
                <c:pt idx="898">
                  <c:v>0.190833333333333</c:v>
                </c:pt>
                <c:pt idx="899">
                  <c:v>0.190833333333333</c:v>
                </c:pt>
                <c:pt idx="900">
                  <c:v>0.190833333333333</c:v>
                </c:pt>
                <c:pt idx="901">
                  <c:v>0.190833333333333</c:v>
                </c:pt>
                <c:pt idx="902">
                  <c:v>0.190833333333333</c:v>
                </c:pt>
                <c:pt idx="903">
                  <c:v>0.190833333333333</c:v>
                </c:pt>
                <c:pt idx="904">
                  <c:v>0.181291666666667</c:v>
                </c:pt>
                <c:pt idx="905">
                  <c:v>0.181291666666667</c:v>
                </c:pt>
                <c:pt idx="906">
                  <c:v>0.181291666666667</c:v>
                </c:pt>
                <c:pt idx="907">
                  <c:v>0.181291666666667</c:v>
                </c:pt>
                <c:pt idx="908">
                  <c:v>0.181291666666667</c:v>
                </c:pt>
                <c:pt idx="909">
                  <c:v>0.181291666666667</c:v>
                </c:pt>
                <c:pt idx="910">
                  <c:v>0.181291666666667</c:v>
                </c:pt>
                <c:pt idx="911">
                  <c:v>0.181291666666667</c:v>
                </c:pt>
                <c:pt idx="912">
                  <c:v>0.181291666666667</c:v>
                </c:pt>
                <c:pt idx="913">
                  <c:v>0.181291666666667</c:v>
                </c:pt>
                <c:pt idx="914">
                  <c:v>0.181291666666667</c:v>
                </c:pt>
                <c:pt idx="915">
                  <c:v>0.181291666666667</c:v>
                </c:pt>
                <c:pt idx="916">
                  <c:v>0.181291666666667</c:v>
                </c:pt>
                <c:pt idx="917">
                  <c:v>0.181291666666667</c:v>
                </c:pt>
                <c:pt idx="918">
                  <c:v>0.181291666666667</c:v>
                </c:pt>
                <c:pt idx="919">
                  <c:v>0.181291666666667</c:v>
                </c:pt>
                <c:pt idx="920">
                  <c:v>0.181291666666667</c:v>
                </c:pt>
                <c:pt idx="921">
                  <c:v>0.181291666666667</c:v>
                </c:pt>
                <c:pt idx="922">
                  <c:v>0.181291666666667</c:v>
                </c:pt>
                <c:pt idx="923">
                  <c:v>0.181291666666667</c:v>
                </c:pt>
                <c:pt idx="924">
                  <c:v>0.181291666666667</c:v>
                </c:pt>
                <c:pt idx="925">
                  <c:v>0.181291666666667</c:v>
                </c:pt>
                <c:pt idx="926">
                  <c:v>0.181291666666667</c:v>
                </c:pt>
                <c:pt idx="927">
                  <c:v>0.181291666666667</c:v>
                </c:pt>
                <c:pt idx="928">
                  <c:v>0.17175</c:v>
                </c:pt>
                <c:pt idx="929">
                  <c:v>0.17175</c:v>
                </c:pt>
                <c:pt idx="930">
                  <c:v>0.17175</c:v>
                </c:pt>
                <c:pt idx="931">
                  <c:v>0.17175</c:v>
                </c:pt>
                <c:pt idx="932">
                  <c:v>0.17175</c:v>
                </c:pt>
                <c:pt idx="933">
                  <c:v>0.17175</c:v>
                </c:pt>
                <c:pt idx="934">
                  <c:v>0.17175</c:v>
                </c:pt>
                <c:pt idx="935">
                  <c:v>0.17175</c:v>
                </c:pt>
                <c:pt idx="936">
                  <c:v>0.17175</c:v>
                </c:pt>
                <c:pt idx="937">
                  <c:v>0.17175</c:v>
                </c:pt>
                <c:pt idx="938">
                  <c:v>0.17175</c:v>
                </c:pt>
                <c:pt idx="939">
                  <c:v>0.17175</c:v>
                </c:pt>
                <c:pt idx="940">
                  <c:v>0.17175</c:v>
                </c:pt>
                <c:pt idx="941">
                  <c:v>0.17175</c:v>
                </c:pt>
                <c:pt idx="942">
                  <c:v>0.17175</c:v>
                </c:pt>
                <c:pt idx="943">
                  <c:v>0.17175</c:v>
                </c:pt>
                <c:pt idx="944">
                  <c:v>0.162208333333333</c:v>
                </c:pt>
                <c:pt idx="945">
                  <c:v>0.162208333333333</c:v>
                </c:pt>
                <c:pt idx="946">
                  <c:v>0.162208333333333</c:v>
                </c:pt>
                <c:pt idx="947">
                  <c:v>0.162208333333333</c:v>
                </c:pt>
                <c:pt idx="948">
                  <c:v>0.162208333333333</c:v>
                </c:pt>
                <c:pt idx="949">
                  <c:v>0.162208333333333</c:v>
                </c:pt>
                <c:pt idx="950">
                  <c:v>0.162208333333333</c:v>
                </c:pt>
                <c:pt idx="951">
                  <c:v>0.162208333333333</c:v>
                </c:pt>
                <c:pt idx="952">
                  <c:v>0.162208333333333</c:v>
                </c:pt>
                <c:pt idx="953">
                  <c:v>0.162208333333333</c:v>
                </c:pt>
                <c:pt idx="954">
                  <c:v>0.162208333333333</c:v>
                </c:pt>
                <c:pt idx="955">
                  <c:v>0.162208333333333</c:v>
                </c:pt>
                <c:pt idx="956">
                  <c:v>0.162208333333333</c:v>
                </c:pt>
                <c:pt idx="957">
                  <c:v>0.162208333333333</c:v>
                </c:pt>
                <c:pt idx="958">
                  <c:v>0.162208333333333</c:v>
                </c:pt>
                <c:pt idx="959">
                  <c:v>0.162208333333333</c:v>
                </c:pt>
                <c:pt idx="960">
                  <c:v>0.162208333333333</c:v>
                </c:pt>
                <c:pt idx="961">
                  <c:v>0.162208333333333</c:v>
                </c:pt>
                <c:pt idx="962">
                  <c:v>0.162208333333333</c:v>
                </c:pt>
                <c:pt idx="963">
                  <c:v>0.162208333333333</c:v>
                </c:pt>
                <c:pt idx="964">
                  <c:v>0.162208333333333</c:v>
                </c:pt>
                <c:pt idx="965">
                  <c:v>0.162208333333333</c:v>
                </c:pt>
                <c:pt idx="966">
                  <c:v>0.162208333333333</c:v>
                </c:pt>
                <c:pt idx="967">
                  <c:v>0.162208333333333</c:v>
                </c:pt>
                <c:pt idx="968">
                  <c:v>0.162208333333333</c:v>
                </c:pt>
                <c:pt idx="969">
                  <c:v>0.162208333333333</c:v>
                </c:pt>
                <c:pt idx="970">
                  <c:v>0.162208333333333</c:v>
                </c:pt>
                <c:pt idx="971">
                  <c:v>0.162208333333333</c:v>
                </c:pt>
                <c:pt idx="972">
                  <c:v>0.162208333333333</c:v>
                </c:pt>
                <c:pt idx="973">
                  <c:v>0.162208333333333</c:v>
                </c:pt>
                <c:pt idx="974">
                  <c:v>0.162208333333333</c:v>
                </c:pt>
                <c:pt idx="975">
                  <c:v>0.152666666666667</c:v>
                </c:pt>
                <c:pt idx="976">
                  <c:v>0.152666666666667</c:v>
                </c:pt>
                <c:pt idx="977">
                  <c:v>0.152666666666667</c:v>
                </c:pt>
                <c:pt idx="978">
                  <c:v>0.152666666666667</c:v>
                </c:pt>
                <c:pt idx="979">
                  <c:v>0.152666666666667</c:v>
                </c:pt>
                <c:pt idx="980">
                  <c:v>0.152666666666667</c:v>
                </c:pt>
                <c:pt idx="981">
                  <c:v>0.152666666666667</c:v>
                </c:pt>
                <c:pt idx="982">
                  <c:v>0.152666666666667</c:v>
                </c:pt>
                <c:pt idx="983">
                  <c:v>0.152666666666667</c:v>
                </c:pt>
                <c:pt idx="984">
                  <c:v>0.152666666666667</c:v>
                </c:pt>
                <c:pt idx="985">
                  <c:v>0.152666666666667</c:v>
                </c:pt>
                <c:pt idx="986">
                  <c:v>0.152666666666667</c:v>
                </c:pt>
                <c:pt idx="987">
                  <c:v>0.152666666666667</c:v>
                </c:pt>
                <c:pt idx="988">
                  <c:v>0.152666666666667</c:v>
                </c:pt>
                <c:pt idx="989">
                  <c:v>0.152666666666667</c:v>
                </c:pt>
                <c:pt idx="990">
                  <c:v>0.152666666666667</c:v>
                </c:pt>
                <c:pt idx="991">
                  <c:v>0.152666666666667</c:v>
                </c:pt>
                <c:pt idx="992">
                  <c:v>0.152666666666667</c:v>
                </c:pt>
                <c:pt idx="993">
                  <c:v>0.152666666666667</c:v>
                </c:pt>
                <c:pt idx="994">
                  <c:v>0.152666666666667</c:v>
                </c:pt>
                <c:pt idx="995">
                  <c:v>0.152666666666667</c:v>
                </c:pt>
                <c:pt idx="996">
                  <c:v>0.152666666666667</c:v>
                </c:pt>
                <c:pt idx="997">
                  <c:v>0.152666666666667</c:v>
                </c:pt>
                <c:pt idx="998">
                  <c:v>0.152666666666667</c:v>
                </c:pt>
                <c:pt idx="999">
                  <c:v>0.152666666666667</c:v>
                </c:pt>
                <c:pt idx="1000">
                  <c:v>0.152666666666667</c:v>
                </c:pt>
                <c:pt idx="1001">
                  <c:v>0.143125</c:v>
                </c:pt>
                <c:pt idx="1002">
                  <c:v>0.143125</c:v>
                </c:pt>
                <c:pt idx="1003">
                  <c:v>0.143125</c:v>
                </c:pt>
                <c:pt idx="1004">
                  <c:v>0.143125</c:v>
                </c:pt>
                <c:pt idx="1005">
                  <c:v>0.143125</c:v>
                </c:pt>
                <c:pt idx="1006">
                  <c:v>0.143125</c:v>
                </c:pt>
                <c:pt idx="1007">
                  <c:v>0.143125</c:v>
                </c:pt>
                <c:pt idx="1008">
                  <c:v>0.143125</c:v>
                </c:pt>
                <c:pt idx="1009">
                  <c:v>0.143125</c:v>
                </c:pt>
                <c:pt idx="1010">
                  <c:v>0.143125</c:v>
                </c:pt>
                <c:pt idx="1011">
                  <c:v>0.143125</c:v>
                </c:pt>
                <c:pt idx="1012">
                  <c:v>0.143125</c:v>
                </c:pt>
                <c:pt idx="1013">
                  <c:v>0.143125</c:v>
                </c:pt>
                <c:pt idx="1014">
                  <c:v>0.143125</c:v>
                </c:pt>
                <c:pt idx="1015">
                  <c:v>0.143125</c:v>
                </c:pt>
                <c:pt idx="1016">
                  <c:v>0.143125</c:v>
                </c:pt>
                <c:pt idx="1017">
                  <c:v>0.143125</c:v>
                </c:pt>
                <c:pt idx="1018">
                  <c:v>0.143125</c:v>
                </c:pt>
                <c:pt idx="1019">
                  <c:v>0.143125</c:v>
                </c:pt>
                <c:pt idx="1020">
                  <c:v>0.143125</c:v>
                </c:pt>
                <c:pt idx="1021">
                  <c:v>0.143125</c:v>
                </c:pt>
                <c:pt idx="1022">
                  <c:v>0.143125</c:v>
                </c:pt>
                <c:pt idx="1023">
                  <c:v>0.143125</c:v>
                </c:pt>
                <c:pt idx="1024">
                  <c:v>0.143125</c:v>
                </c:pt>
                <c:pt idx="1025">
                  <c:v>0.143125</c:v>
                </c:pt>
                <c:pt idx="1026">
                  <c:v>0.143125</c:v>
                </c:pt>
                <c:pt idx="1027">
                  <c:v>0.133583333333333</c:v>
                </c:pt>
                <c:pt idx="1028">
                  <c:v>0.133583333333333</c:v>
                </c:pt>
                <c:pt idx="1029">
                  <c:v>0.133583333333333</c:v>
                </c:pt>
                <c:pt idx="1030">
                  <c:v>0.133583333333333</c:v>
                </c:pt>
                <c:pt idx="1031">
                  <c:v>0.133583333333333</c:v>
                </c:pt>
                <c:pt idx="1032">
                  <c:v>0.133583333333333</c:v>
                </c:pt>
                <c:pt idx="1033">
                  <c:v>0.133583333333333</c:v>
                </c:pt>
                <c:pt idx="1034">
                  <c:v>0.133583333333333</c:v>
                </c:pt>
                <c:pt idx="1035">
                  <c:v>0.133583333333333</c:v>
                </c:pt>
                <c:pt idx="1036">
                  <c:v>0.133583333333333</c:v>
                </c:pt>
                <c:pt idx="1037">
                  <c:v>0.133583333333333</c:v>
                </c:pt>
                <c:pt idx="1038">
                  <c:v>0.133583333333333</c:v>
                </c:pt>
                <c:pt idx="1039">
                  <c:v>0.133583333333333</c:v>
                </c:pt>
                <c:pt idx="1040">
                  <c:v>0.133583333333333</c:v>
                </c:pt>
                <c:pt idx="1041">
                  <c:v>0.133583333333333</c:v>
                </c:pt>
                <c:pt idx="1042">
                  <c:v>0.133583333333333</c:v>
                </c:pt>
                <c:pt idx="1043">
                  <c:v>0.133583333333333</c:v>
                </c:pt>
                <c:pt idx="1044">
                  <c:v>0.133583333333333</c:v>
                </c:pt>
                <c:pt idx="1045">
                  <c:v>0.133583333333333</c:v>
                </c:pt>
                <c:pt idx="1046">
                  <c:v>0.133583333333333</c:v>
                </c:pt>
                <c:pt idx="1047">
                  <c:v>0.133583333333333</c:v>
                </c:pt>
                <c:pt idx="1048">
                  <c:v>0.133583333333333</c:v>
                </c:pt>
                <c:pt idx="1049">
                  <c:v>0.133583333333333</c:v>
                </c:pt>
                <c:pt idx="1050">
                  <c:v>0.133583333333333</c:v>
                </c:pt>
                <c:pt idx="1051">
                  <c:v>0.133583333333333</c:v>
                </c:pt>
                <c:pt idx="1052">
                  <c:v>0.133583333333333</c:v>
                </c:pt>
                <c:pt idx="1053">
                  <c:v>0.133583333333333</c:v>
                </c:pt>
                <c:pt idx="1054">
                  <c:v>0.133583333333333</c:v>
                </c:pt>
                <c:pt idx="1055">
                  <c:v>0.133583333333333</c:v>
                </c:pt>
                <c:pt idx="1056">
                  <c:v>0.133583333333333</c:v>
                </c:pt>
                <c:pt idx="1057">
                  <c:v>0.133583333333333</c:v>
                </c:pt>
                <c:pt idx="1058">
                  <c:v>0.133583333333333</c:v>
                </c:pt>
                <c:pt idx="1059">
                  <c:v>0.133583333333333</c:v>
                </c:pt>
                <c:pt idx="1060">
                  <c:v>0.133583333333333</c:v>
                </c:pt>
                <c:pt idx="1061">
                  <c:v>0.133583333333333</c:v>
                </c:pt>
                <c:pt idx="1062">
                  <c:v>0.124041666666667</c:v>
                </c:pt>
                <c:pt idx="1063">
                  <c:v>0.124041666666667</c:v>
                </c:pt>
                <c:pt idx="1064">
                  <c:v>0.124041666666667</c:v>
                </c:pt>
                <c:pt idx="1065">
                  <c:v>0.124041666666667</c:v>
                </c:pt>
                <c:pt idx="1066">
                  <c:v>0.124041666666667</c:v>
                </c:pt>
                <c:pt idx="1067">
                  <c:v>0.124041666666667</c:v>
                </c:pt>
                <c:pt idx="1068">
                  <c:v>0.124041666666667</c:v>
                </c:pt>
                <c:pt idx="1069">
                  <c:v>0.124041666666667</c:v>
                </c:pt>
                <c:pt idx="1070">
                  <c:v>0.124041666666667</c:v>
                </c:pt>
                <c:pt idx="1071">
                  <c:v>0.124041666666667</c:v>
                </c:pt>
                <c:pt idx="1072">
                  <c:v>0.124041666666667</c:v>
                </c:pt>
                <c:pt idx="1073">
                  <c:v>0.124041666666667</c:v>
                </c:pt>
                <c:pt idx="1074">
                  <c:v>0.124041666666667</c:v>
                </c:pt>
                <c:pt idx="1075">
                  <c:v>0.124041666666667</c:v>
                </c:pt>
                <c:pt idx="1076">
                  <c:v>0.124041666666667</c:v>
                </c:pt>
                <c:pt idx="1077">
                  <c:v>0.124041666666667</c:v>
                </c:pt>
                <c:pt idx="1078">
                  <c:v>0.124041666666667</c:v>
                </c:pt>
                <c:pt idx="1079">
                  <c:v>0.124041666666667</c:v>
                </c:pt>
                <c:pt idx="1080">
                  <c:v>0.124041666666667</c:v>
                </c:pt>
                <c:pt idx="1081">
                  <c:v>0.124041666666667</c:v>
                </c:pt>
                <c:pt idx="1082">
                  <c:v>0.124041666666667</c:v>
                </c:pt>
                <c:pt idx="1083">
                  <c:v>0.124041666666667</c:v>
                </c:pt>
                <c:pt idx="1084">
                  <c:v>0.1145</c:v>
                </c:pt>
                <c:pt idx="1085">
                  <c:v>0.1145</c:v>
                </c:pt>
                <c:pt idx="1086">
                  <c:v>0.1145</c:v>
                </c:pt>
                <c:pt idx="1087">
                  <c:v>0.1145</c:v>
                </c:pt>
                <c:pt idx="1088">
                  <c:v>0.1145</c:v>
                </c:pt>
                <c:pt idx="1089">
                  <c:v>0.1145</c:v>
                </c:pt>
                <c:pt idx="1090">
                  <c:v>0.1145</c:v>
                </c:pt>
                <c:pt idx="1091">
                  <c:v>0.1145</c:v>
                </c:pt>
                <c:pt idx="1092">
                  <c:v>0.1145</c:v>
                </c:pt>
                <c:pt idx="1093">
                  <c:v>0.1145</c:v>
                </c:pt>
                <c:pt idx="1094">
                  <c:v>0.1145</c:v>
                </c:pt>
                <c:pt idx="1095">
                  <c:v>0.1145</c:v>
                </c:pt>
                <c:pt idx="1096">
                  <c:v>0.1145</c:v>
                </c:pt>
                <c:pt idx="1097">
                  <c:v>0.1145</c:v>
                </c:pt>
                <c:pt idx="1098">
                  <c:v>0.1145</c:v>
                </c:pt>
                <c:pt idx="1099">
                  <c:v>0.1145</c:v>
                </c:pt>
                <c:pt idx="1100">
                  <c:v>0.1145</c:v>
                </c:pt>
                <c:pt idx="1101">
                  <c:v>0.1145</c:v>
                </c:pt>
                <c:pt idx="1102">
                  <c:v>0.1145</c:v>
                </c:pt>
                <c:pt idx="1103">
                  <c:v>0.1145</c:v>
                </c:pt>
                <c:pt idx="1104">
                  <c:v>0.1145</c:v>
                </c:pt>
                <c:pt idx="1105">
                  <c:v>0.104958333333333</c:v>
                </c:pt>
                <c:pt idx="1106">
                  <c:v>0.104958333333333</c:v>
                </c:pt>
                <c:pt idx="1107">
                  <c:v>0.104958333333333</c:v>
                </c:pt>
                <c:pt idx="1108">
                  <c:v>0.104958333333333</c:v>
                </c:pt>
                <c:pt idx="1109">
                  <c:v>0.104958333333333</c:v>
                </c:pt>
                <c:pt idx="1110">
                  <c:v>0.104958333333333</c:v>
                </c:pt>
                <c:pt idx="1111">
                  <c:v>0.104958333333333</c:v>
                </c:pt>
                <c:pt idx="1112">
                  <c:v>0.104958333333333</c:v>
                </c:pt>
                <c:pt idx="1113">
                  <c:v>0.104958333333333</c:v>
                </c:pt>
                <c:pt idx="1114">
                  <c:v>0.104958333333333</c:v>
                </c:pt>
                <c:pt idx="1115">
                  <c:v>0.104958333333333</c:v>
                </c:pt>
                <c:pt idx="1116">
                  <c:v>0.104958333333333</c:v>
                </c:pt>
                <c:pt idx="1117">
                  <c:v>0.104958333333333</c:v>
                </c:pt>
                <c:pt idx="1118">
                  <c:v>0.104958333333333</c:v>
                </c:pt>
                <c:pt idx="1119">
                  <c:v>0.104958333333333</c:v>
                </c:pt>
                <c:pt idx="1120">
                  <c:v>0.104958333333333</c:v>
                </c:pt>
                <c:pt idx="1121">
                  <c:v>0.104958333333333</c:v>
                </c:pt>
                <c:pt idx="1122">
                  <c:v>0.104958333333333</c:v>
                </c:pt>
                <c:pt idx="1123">
                  <c:v>0.104958333333333</c:v>
                </c:pt>
                <c:pt idx="1124">
                  <c:v>0.104958333333333</c:v>
                </c:pt>
                <c:pt idx="1125">
                  <c:v>0.104958333333333</c:v>
                </c:pt>
                <c:pt idx="1126">
                  <c:v>0.104958333333333</c:v>
                </c:pt>
                <c:pt idx="1127">
                  <c:v>0.104958333333333</c:v>
                </c:pt>
                <c:pt idx="1128">
                  <c:v>0.104958333333333</c:v>
                </c:pt>
                <c:pt idx="1129">
                  <c:v>0.104958333333333</c:v>
                </c:pt>
                <c:pt idx="1130">
                  <c:v>0.104958333333333</c:v>
                </c:pt>
                <c:pt idx="1131">
                  <c:v>0.104958333333333</c:v>
                </c:pt>
                <c:pt idx="1132">
                  <c:v>0.104958333333333</c:v>
                </c:pt>
                <c:pt idx="1133">
                  <c:v>0.104958333333333</c:v>
                </c:pt>
                <c:pt idx="1134">
                  <c:v>0.0954166666666667</c:v>
                </c:pt>
                <c:pt idx="1135">
                  <c:v>0.0954166666666667</c:v>
                </c:pt>
                <c:pt idx="1136">
                  <c:v>0.0954166666666667</c:v>
                </c:pt>
                <c:pt idx="1137">
                  <c:v>0.0954166666666667</c:v>
                </c:pt>
                <c:pt idx="1138">
                  <c:v>0.0954166666666667</c:v>
                </c:pt>
                <c:pt idx="1139">
                  <c:v>0.0954166666666667</c:v>
                </c:pt>
                <c:pt idx="1140">
                  <c:v>0.0954166666666667</c:v>
                </c:pt>
                <c:pt idx="1141">
                  <c:v>0.0954166666666667</c:v>
                </c:pt>
                <c:pt idx="1142">
                  <c:v>0.0954166666666667</c:v>
                </c:pt>
                <c:pt idx="1143">
                  <c:v>0.0954166666666667</c:v>
                </c:pt>
                <c:pt idx="1144">
                  <c:v>0.0954166666666667</c:v>
                </c:pt>
                <c:pt idx="1145">
                  <c:v>0.0954166666666667</c:v>
                </c:pt>
                <c:pt idx="1146">
                  <c:v>0.0954166666666667</c:v>
                </c:pt>
                <c:pt idx="1147">
                  <c:v>0.0954166666666667</c:v>
                </c:pt>
                <c:pt idx="1148">
                  <c:v>0.0954166666666667</c:v>
                </c:pt>
                <c:pt idx="1149">
                  <c:v>0.0954166666666667</c:v>
                </c:pt>
                <c:pt idx="1150">
                  <c:v>0.0954166666666667</c:v>
                </c:pt>
                <c:pt idx="1151">
                  <c:v>0.0954166666666667</c:v>
                </c:pt>
                <c:pt idx="1152">
                  <c:v>0.0954166666666667</c:v>
                </c:pt>
                <c:pt idx="1153">
                  <c:v>0.0954166666666667</c:v>
                </c:pt>
                <c:pt idx="1154">
                  <c:v>0.0954166666666667</c:v>
                </c:pt>
                <c:pt idx="1155">
                  <c:v>0.0954166666666667</c:v>
                </c:pt>
                <c:pt idx="1156">
                  <c:v>0.0954166666666667</c:v>
                </c:pt>
                <c:pt idx="1157">
                  <c:v>0.0954166666666667</c:v>
                </c:pt>
                <c:pt idx="1158">
                  <c:v>0.0954166666666667</c:v>
                </c:pt>
                <c:pt idx="1159">
                  <c:v>0.0954166666666667</c:v>
                </c:pt>
                <c:pt idx="1160">
                  <c:v>0.0954166666666667</c:v>
                </c:pt>
                <c:pt idx="1161">
                  <c:v>0.0954166666666667</c:v>
                </c:pt>
                <c:pt idx="1162">
                  <c:v>0.0954166666666667</c:v>
                </c:pt>
                <c:pt idx="1163">
                  <c:v>0.0954166666666667</c:v>
                </c:pt>
                <c:pt idx="1164">
                  <c:v>0.0954166666666667</c:v>
                </c:pt>
                <c:pt idx="1165">
                  <c:v>0.0954166666666667</c:v>
                </c:pt>
                <c:pt idx="1166">
                  <c:v>0.0954166666666667</c:v>
                </c:pt>
                <c:pt idx="1167">
                  <c:v>0.0954166666666667</c:v>
                </c:pt>
                <c:pt idx="1168">
                  <c:v>0.085875</c:v>
                </c:pt>
                <c:pt idx="1169">
                  <c:v>0.085875</c:v>
                </c:pt>
                <c:pt idx="1170">
                  <c:v>0.085875</c:v>
                </c:pt>
                <c:pt idx="1171">
                  <c:v>0.085875</c:v>
                </c:pt>
                <c:pt idx="1172">
                  <c:v>0.085875</c:v>
                </c:pt>
                <c:pt idx="1173">
                  <c:v>0.085875</c:v>
                </c:pt>
                <c:pt idx="1174">
                  <c:v>0.085875</c:v>
                </c:pt>
                <c:pt idx="1175">
                  <c:v>0.085875</c:v>
                </c:pt>
                <c:pt idx="1176">
                  <c:v>0.085875</c:v>
                </c:pt>
                <c:pt idx="1177">
                  <c:v>0.085875</c:v>
                </c:pt>
                <c:pt idx="1178">
                  <c:v>0.085875</c:v>
                </c:pt>
                <c:pt idx="1179">
                  <c:v>0.085875</c:v>
                </c:pt>
                <c:pt idx="1180">
                  <c:v>0.085875</c:v>
                </c:pt>
                <c:pt idx="1181">
                  <c:v>0.085875</c:v>
                </c:pt>
                <c:pt idx="1182">
                  <c:v>0.085875</c:v>
                </c:pt>
                <c:pt idx="1183">
                  <c:v>0.085875</c:v>
                </c:pt>
                <c:pt idx="1184">
                  <c:v>0.085875</c:v>
                </c:pt>
                <c:pt idx="1185">
                  <c:v>0.085875</c:v>
                </c:pt>
                <c:pt idx="1186">
                  <c:v>0.085875</c:v>
                </c:pt>
                <c:pt idx="1187">
                  <c:v>0.085875</c:v>
                </c:pt>
                <c:pt idx="1188">
                  <c:v>0.085875</c:v>
                </c:pt>
                <c:pt idx="1189">
                  <c:v>0.085875</c:v>
                </c:pt>
                <c:pt idx="1190">
                  <c:v>0.085875</c:v>
                </c:pt>
                <c:pt idx="1191">
                  <c:v>0.085875</c:v>
                </c:pt>
                <c:pt idx="1192">
                  <c:v>0.085875</c:v>
                </c:pt>
                <c:pt idx="1193">
                  <c:v>0.085875</c:v>
                </c:pt>
                <c:pt idx="1194">
                  <c:v>0.085875</c:v>
                </c:pt>
                <c:pt idx="1195">
                  <c:v>0.0763333333333334</c:v>
                </c:pt>
                <c:pt idx="1196">
                  <c:v>0.0763333333333334</c:v>
                </c:pt>
                <c:pt idx="1197">
                  <c:v>0.0763333333333334</c:v>
                </c:pt>
                <c:pt idx="1198">
                  <c:v>0.0763333333333334</c:v>
                </c:pt>
                <c:pt idx="1199">
                  <c:v>0.0763333333333334</c:v>
                </c:pt>
                <c:pt idx="1200">
                  <c:v>0.0763333333333334</c:v>
                </c:pt>
                <c:pt idx="1201">
                  <c:v>0.0763333333333334</c:v>
                </c:pt>
                <c:pt idx="1202">
                  <c:v>0.0763333333333334</c:v>
                </c:pt>
                <c:pt idx="1203">
                  <c:v>0.0763333333333334</c:v>
                </c:pt>
                <c:pt idx="1204">
                  <c:v>0.0763333333333334</c:v>
                </c:pt>
                <c:pt idx="1205">
                  <c:v>0.0763333333333334</c:v>
                </c:pt>
                <c:pt idx="1206">
                  <c:v>0.0763333333333334</c:v>
                </c:pt>
                <c:pt idx="1207">
                  <c:v>0.0763333333333334</c:v>
                </c:pt>
                <c:pt idx="1208">
                  <c:v>0.0763333333333334</c:v>
                </c:pt>
                <c:pt idx="1209">
                  <c:v>0.0763333333333334</c:v>
                </c:pt>
                <c:pt idx="1210">
                  <c:v>0.0763333333333334</c:v>
                </c:pt>
                <c:pt idx="1211">
                  <c:v>0.0763333333333334</c:v>
                </c:pt>
                <c:pt idx="1212">
                  <c:v>0.0763333333333334</c:v>
                </c:pt>
                <c:pt idx="1213">
                  <c:v>0.0763333333333334</c:v>
                </c:pt>
                <c:pt idx="1214">
                  <c:v>0.0763333333333334</c:v>
                </c:pt>
                <c:pt idx="1215">
                  <c:v>0.0763333333333334</c:v>
                </c:pt>
                <c:pt idx="1216">
                  <c:v>0.0763333333333334</c:v>
                </c:pt>
                <c:pt idx="1217">
                  <c:v>0.0763333333333334</c:v>
                </c:pt>
                <c:pt idx="1218">
                  <c:v>0.0763333333333334</c:v>
                </c:pt>
                <c:pt idx="1219">
                  <c:v>0.0763333333333334</c:v>
                </c:pt>
                <c:pt idx="1220">
                  <c:v>0.0763333333333334</c:v>
                </c:pt>
                <c:pt idx="1221">
                  <c:v>0.0763333333333334</c:v>
                </c:pt>
                <c:pt idx="1222">
                  <c:v>0.0763333333333334</c:v>
                </c:pt>
                <c:pt idx="1223">
                  <c:v>0.0763333333333334</c:v>
                </c:pt>
                <c:pt idx="1224">
                  <c:v>0.0763333333333334</c:v>
                </c:pt>
                <c:pt idx="1225">
                  <c:v>0.0763333333333334</c:v>
                </c:pt>
                <c:pt idx="1226">
                  <c:v>0.0763333333333334</c:v>
                </c:pt>
                <c:pt idx="1227">
                  <c:v>0.0763333333333334</c:v>
                </c:pt>
                <c:pt idx="1228">
                  <c:v>0.0763333333333334</c:v>
                </c:pt>
                <c:pt idx="1229">
                  <c:v>0.0763333333333334</c:v>
                </c:pt>
                <c:pt idx="1230">
                  <c:v>0.0763333333333334</c:v>
                </c:pt>
                <c:pt idx="1231">
                  <c:v>0.0763333333333334</c:v>
                </c:pt>
                <c:pt idx="1232">
                  <c:v>0.0763333333333334</c:v>
                </c:pt>
                <c:pt idx="1233">
                  <c:v>0.0763333333333334</c:v>
                </c:pt>
                <c:pt idx="1234">
                  <c:v>0.0763333333333334</c:v>
                </c:pt>
                <c:pt idx="1235">
                  <c:v>0.0667916666666667</c:v>
                </c:pt>
                <c:pt idx="1236">
                  <c:v>0.0667916666666667</c:v>
                </c:pt>
                <c:pt idx="1237">
                  <c:v>0.0667916666666667</c:v>
                </c:pt>
                <c:pt idx="1238">
                  <c:v>0.0667916666666667</c:v>
                </c:pt>
                <c:pt idx="1239">
                  <c:v>0.0667916666666667</c:v>
                </c:pt>
                <c:pt idx="1240">
                  <c:v>0.0667916666666667</c:v>
                </c:pt>
                <c:pt idx="1241">
                  <c:v>0.0667916666666667</c:v>
                </c:pt>
                <c:pt idx="1242">
                  <c:v>0.0667916666666667</c:v>
                </c:pt>
                <c:pt idx="1243">
                  <c:v>0.0667916666666667</c:v>
                </c:pt>
                <c:pt idx="1244">
                  <c:v>0.0667916666666667</c:v>
                </c:pt>
                <c:pt idx="1245">
                  <c:v>0.0667916666666667</c:v>
                </c:pt>
                <c:pt idx="1246">
                  <c:v>0.0667916666666667</c:v>
                </c:pt>
                <c:pt idx="1247">
                  <c:v>0.0667916666666667</c:v>
                </c:pt>
                <c:pt idx="1248">
                  <c:v>0.0667916666666667</c:v>
                </c:pt>
                <c:pt idx="1249">
                  <c:v>0.0667916666666667</c:v>
                </c:pt>
                <c:pt idx="1250">
                  <c:v>0.0667916666666667</c:v>
                </c:pt>
                <c:pt idx="1251">
                  <c:v>0.0667916666666667</c:v>
                </c:pt>
                <c:pt idx="1252">
                  <c:v>0.0667916666666667</c:v>
                </c:pt>
                <c:pt idx="1253">
                  <c:v>0.0667916666666667</c:v>
                </c:pt>
                <c:pt idx="1254">
                  <c:v>0.0667916666666667</c:v>
                </c:pt>
                <c:pt idx="1255">
                  <c:v>0.0667916666666667</c:v>
                </c:pt>
                <c:pt idx="1256">
                  <c:v>0.0667916666666667</c:v>
                </c:pt>
                <c:pt idx="1257">
                  <c:v>0.0667916666666667</c:v>
                </c:pt>
                <c:pt idx="1258">
                  <c:v>0.0667916666666667</c:v>
                </c:pt>
                <c:pt idx="1259">
                  <c:v>0.0667916666666667</c:v>
                </c:pt>
                <c:pt idx="1260">
                  <c:v>0.0667916666666667</c:v>
                </c:pt>
                <c:pt idx="1261">
                  <c:v>0.0667916666666667</c:v>
                </c:pt>
                <c:pt idx="1262">
                  <c:v>0.0667916666666667</c:v>
                </c:pt>
                <c:pt idx="1263">
                  <c:v>0.0667916666666667</c:v>
                </c:pt>
                <c:pt idx="1264">
                  <c:v>0.0667916666666667</c:v>
                </c:pt>
                <c:pt idx="1265">
                  <c:v>0.0667916666666667</c:v>
                </c:pt>
                <c:pt idx="1266">
                  <c:v>0.0667916666666667</c:v>
                </c:pt>
                <c:pt idx="1267">
                  <c:v>0.05725</c:v>
                </c:pt>
                <c:pt idx="1268">
                  <c:v>0.05725</c:v>
                </c:pt>
                <c:pt idx="1269">
                  <c:v>0.05725</c:v>
                </c:pt>
                <c:pt idx="1270">
                  <c:v>0.05725</c:v>
                </c:pt>
                <c:pt idx="1271">
                  <c:v>0.05725</c:v>
                </c:pt>
                <c:pt idx="1272">
                  <c:v>0.05725</c:v>
                </c:pt>
                <c:pt idx="1273">
                  <c:v>0.05725</c:v>
                </c:pt>
                <c:pt idx="1274">
                  <c:v>0.05725</c:v>
                </c:pt>
                <c:pt idx="1275">
                  <c:v>0.05725</c:v>
                </c:pt>
                <c:pt idx="1276">
                  <c:v>0.05725</c:v>
                </c:pt>
                <c:pt idx="1277">
                  <c:v>0.05725</c:v>
                </c:pt>
                <c:pt idx="1278">
                  <c:v>0.05725</c:v>
                </c:pt>
                <c:pt idx="1279">
                  <c:v>0.05725</c:v>
                </c:pt>
                <c:pt idx="1280">
                  <c:v>0.05725</c:v>
                </c:pt>
                <c:pt idx="1281">
                  <c:v>0.05725</c:v>
                </c:pt>
                <c:pt idx="1282">
                  <c:v>0.05725</c:v>
                </c:pt>
                <c:pt idx="1283">
                  <c:v>0.05725</c:v>
                </c:pt>
                <c:pt idx="1284">
                  <c:v>0.05725</c:v>
                </c:pt>
                <c:pt idx="1285">
                  <c:v>0.05725</c:v>
                </c:pt>
                <c:pt idx="1286">
                  <c:v>0.05725</c:v>
                </c:pt>
                <c:pt idx="1287">
                  <c:v>0.05725</c:v>
                </c:pt>
                <c:pt idx="1288">
                  <c:v>0.05725</c:v>
                </c:pt>
                <c:pt idx="1289">
                  <c:v>0.05725</c:v>
                </c:pt>
                <c:pt idx="1290">
                  <c:v>0.05725</c:v>
                </c:pt>
                <c:pt idx="1291">
                  <c:v>0.05725</c:v>
                </c:pt>
                <c:pt idx="1292">
                  <c:v>0.05725</c:v>
                </c:pt>
                <c:pt idx="1293">
                  <c:v>0.05725</c:v>
                </c:pt>
                <c:pt idx="1294">
                  <c:v>0.0477083333333333</c:v>
                </c:pt>
                <c:pt idx="1295">
                  <c:v>0.0477083333333333</c:v>
                </c:pt>
                <c:pt idx="1296">
                  <c:v>0.0477083333333333</c:v>
                </c:pt>
                <c:pt idx="1297">
                  <c:v>0.0477083333333333</c:v>
                </c:pt>
                <c:pt idx="1298">
                  <c:v>0.0477083333333333</c:v>
                </c:pt>
                <c:pt idx="1299">
                  <c:v>0.0477083333333333</c:v>
                </c:pt>
                <c:pt idx="1300">
                  <c:v>0.0477083333333333</c:v>
                </c:pt>
                <c:pt idx="1301">
                  <c:v>0.0477083333333333</c:v>
                </c:pt>
                <c:pt idx="1302">
                  <c:v>0.0477083333333333</c:v>
                </c:pt>
                <c:pt idx="1303">
                  <c:v>0.0477083333333333</c:v>
                </c:pt>
                <c:pt idx="1304">
                  <c:v>0.0477083333333333</c:v>
                </c:pt>
                <c:pt idx="1305">
                  <c:v>0.0477083333333333</c:v>
                </c:pt>
                <c:pt idx="1306">
                  <c:v>0.0477083333333333</c:v>
                </c:pt>
                <c:pt idx="1307">
                  <c:v>0.0477083333333333</c:v>
                </c:pt>
                <c:pt idx="1308">
                  <c:v>0.0477083333333333</c:v>
                </c:pt>
                <c:pt idx="1309">
                  <c:v>0.0477083333333333</c:v>
                </c:pt>
                <c:pt idx="1310">
                  <c:v>0.0477083333333333</c:v>
                </c:pt>
                <c:pt idx="1311">
                  <c:v>0.0477083333333333</c:v>
                </c:pt>
                <c:pt idx="1312">
                  <c:v>0.0477083333333333</c:v>
                </c:pt>
                <c:pt idx="1313">
                  <c:v>0.0477083333333333</c:v>
                </c:pt>
                <c:pt idx="1314">
                  <c:v>0.0477083333333333</c:v>
                </c:pt>
                <c:pt idx="1315">
                  <c:v>0.0477083333333333</c:v>
                </c:pt>
                <c:pt idx="1316">
                  <c:v>0.0477083333333333</c:v>
                </c:pt>
                <c:pt idx="1317">
                  <c:v>0.0477083333333333</c:v>
                </c:pt>
                <c:pt idx="1318">
                  <c:v>0.0477083333333333</c:v>
                </c:pt>
                <c:pt idx="1319">
                  <c:v>0.0477083333333333</c:v>
                </c:pt>
                <c:pt idx="1320">
                  <c:v>0.0477083333333333</c:v>
                </c:pt>
                <c:pt idx="1321">
                  <c:v>0.0477083333333333</c:v>
                </c:pt>
                <c:pt idx="1322">
                  <c:v>0.0477083333333333</c:v>
                </c:pt>
                <c:pt idx="1323">
                  <c:v>0.0477083333333333</c:v>
                </c:pt>
                <c:pt idx="1324">
                  <c:v>0.0477083333333333</c:v>
                </c:pt>
                <c:pt idx="1325">
                  <c:v>0.0477083333333333</c:v>
                </c:pt>
                <c:pt idx="1326">
                  <c:v>0.0477083333333333</c:v>
                </c:pt>
                <c:pt idx="1327">
                  <c:v>0.0477083333333333</c:v>
                </c:pt>
                <c:pt idx="1328">
                  <c:v>0.0381666666666667</c:v>
                </c:pt>
                <c:pt idx="1329">
                  <c:v>0.0381666666666667</c:v>
                </c:pt>
                <c:pt idx="1330">
                  <c:v>0.0381666666666667</c:v>
                </c:pt>
                <c:pt idx="1331">
                  <c:v>0.0381666666666667</c:v>
                </c:pt>
                <c:pt idx="1332">
                  <c:v>0.0381666666666667</c:v>
                </c:pt>
                <c:pt idx="1333">
                  <c:v>0.0381666666666667</c:v>
                </c:pt>
                <c:pt idx="1334">
                  <c:v>0.0381666666666667</c:v>
                </c:pt>
                <c:pt idx="1335">
                  <c:v>0.0381666666666667</c:v>
                </c:pt>
                <c:pt idx="1336">
                  <c:v>0.0381666666666667</c:v>
                </c:pt>
                <c:pt idx="1337">
                  <c:v>0.0381666666666667</c:v>
                </c:pt>
                <c:pt idx="1338">
                  <c:v>0.0381666666666667</c:v>
                </c:pt>
                <c:pt idx="1339">
                  <c:v>0.0381666666666667</c:v>
                </c:pt>
                <c:pt idx="1340">
                  <c:v>0.0381666666666667</c:v>
                </c:pt>
                <c:pt idx="1341">
                  <c:v>0.0381666666666667</c:v>
                </c:pt>
                <c:pt idx="1342">
                  <c:v>0.0381666666666667</c:v>
                </c:pt>
                <c:pt idx="1343">
                  <c:v>0.0381666666666667</c:v>
                </c:pt>
                <c:pt idx="1344">
                  <c:v>0.0381666666666667</c:v>
                </c:pt>
                <c:pt idx="1345">
                  <c:v>0.0381666666666667</c:v>
                </c:pt>
                <c:pt idx="1346">
                  <c:v>0.0381666666666667</c:v>
                </c:pt>
                <c:pt idx="1347">
                  <c:v>0.0381666666666667</c:v>
                </c:pt>
                <c:pt idx="1348">
                  <c:v>0.0381666666666667</c:v>
                </c:pt>
                <c:pt idx="1349">
                  <c:v>0.0381666666666667</c:v>
                </c:pt>
                <c:pt idx="1350">
                  <c:v>0.0381666666666667</c:v>
                </c:pt>
                <c:pt idx="1351">
                  <c:v>0.0381666666666667</c:v>
                </c:pt>
                <c:pt idx="1352">
                  <c:v>0.0381666666666667</c:v>
                </c:pt>
                <c:pt idx="1353">
                  <c:v>0.0381666666666667</c:v>
                </c:pt>
                <c:pt idx="1354">
                  <c:v>0.0381666666666667</c:v>
                </c:pt>
                <c:pt idx="1355">
                  <c:v>0.0381666666666667</c:v>
                </c:pt>
                <c:pt idx="1356">
                  <c:v>0.0381666666666667</c:v>
                </c:pt>
                <c:pt idx="1357">
                  <c:v>0.0381666666666667</c:v>
                </c:pt>
                <c:pt idx="1358">
                  <c:v>0.0381666666666667</c:v>
                </c:pt>
                <c:pt idx="1359">
                  <c:v>0.0381666666666667</c:v>
                </c:pt>
                <c:pt idx="1360">
                  <c:v>0.0381666666666667</c:v>
                </c:pt>
                <c:pt idx="1361">
                  <c:v>0.0381666666666667</c:v>
                </c:pt>
                <c:pt idx="1362">
                  <c:v>0.0381666666666667</c:v>
                </c:pt>
                <c:pt idx="1363">
                  <c:v>0.0381666666666667</c:v>
                </c:pt>
                <c:pt idx="1364">
                  <c:v>0.028625</c:v>
                </c:pt>
                <c:pt idx="1365">
                  <c:v>0.028625</c:v>
                </c:pt>
                <c:pt idx="1366">
                  <c:v>0.028625</c:v>
                </c:pt>
                <c:pt idx="1367">
                  <c:v>0.028625</c:v>
                </c:pt>
                <c:pt idx="1368">
                  <c:v>0.028625</c:v>
                </c:pt>
                <c:pt idx="1369">
                  <c:v>0.028625</c:v>
                </c:pt>
                <c:pt idx="1370">
                  <c:v>0.028625</c:v>
                </c:pt>
                <c:pt idx="1371">
                  <c:v>0.028625</c:v>
                </c:pt>
                <c:pt idx="1372">
                  <c:v>0.028625</c:v>
                </c:pt>
                <c:pt idx="1373">
                  <c:v>0.028625</c:v>
                </c:pt>
                <c:pt idx="1374">
                  <c:v>0.028625</c:v>
                </c:pt>
                <c:pt idx="1375">
                  <c:v>0.028625</c:v>
                </c:pt>
                <c:pt idx="1376">
                  <c:v>0.028625</c:v>
                </c:pt>
                <c:pt idx="1377">
                  <c:v>0.028625</c:v>
                </c:pt>
                <c:pt idx="1378">
                  <c:v>0.028625</c:v>
                </c:pt>
                <c:pt idx="1379">
                  <c:v>0.028625</c:v>
                </c:pt>
                <c:pt idx="1380">
                  <c:v>0.028625</c:v>
                </c:pt>
                <c:pt idx="1381">
                  <c:v>0.028625</c:v>
                </c:pt>
                <c:pt idx="1382">
                  <c:v>0.028625</c:v>
                </c:pt>
                <c:pt idx="1383">
                  <c:v>0.028625</c:v>
                </c:pt>
                <c:pt idx="1384">
                  <c:v>0.028625</c:v>
                </c:pt>
                <c:pt idx="1385">
                  <c:v>0.028625</c:v>
                </c:pt>
                <c:pt idx="1386">
                  <c:v>0.028625</c:v>
                </c:pt>
                <c:pt idx="1387">
                  <c:v>0.028625</c:v>
                </c:pt>
                <c:pt idx="1388">
                  <c:v>0.028625</c:v>
                </c:pt>
                <c:pt idx="1389">
                  <c:v>0.028625</c:v>
                </c:pt>
                <c:pt idx="1390">
                  <c:v>0.028625</c:v>
                </c:pt>
                <c:pt idx="1391">
                  <c:v>0.028625</c:v>
                </c:pt>
                <c:pt idx="1392">
                  <c:v>0.028625</c:v>
                </c:pt>
                <c:pt idx="1393">
                  <c:v>0.028625</c:v>
                </c:pt>
                <c:pt idx="1394">
                  <c:v>0.028625</c:v>
                </c:pt>
                <c:pt idx="1395">
                  <c:v>0.028625</c:v>
                </c:pt>
                <c:pt idx="1396">
                  <c:v>0.028625</c:v>
                </c:pt>
                <c:pt idx="1397">
                  <c:v>0.028625</c:v>
                </c:pt>
                <c:pt idx="1398">
                  <c:v>0.028625</c:v>
                </c:pt>
                <c:pt idx="1399">
                  <c:v>0.028625</c:v>
                </c:pt>
                <c:pt idx="1400">
                  <c:v>0.028625</c:v>
                </c:pt>
                <c:pt idx="1401">
                  <c:v>0.0190833333333333</c:v>
                </c:pt>
                <c:pt idx="1402">
                  <c:v>0.0190833333333333</c:v>
                </c:pt>
                <c:pt idx="1403">
                  <c:v>0.0190833333333333</c:v>
                </c:pt>
                <c:pt idx="1404">
                  <c:v>0.0190833333333333</c:v>
                </c:pt>
                <c:pt idx="1405">
                  <c:v>0.0190833333333333</c:v>
                </c:pt>
                <c:pt idx="1406">
                  <c:v>0.0190833333333333</c:v>
                </c:pt>
                <c:pt idx="1407">
                  <c:v>0.0190833333333333</c:v>
                </c:pt>
                <c:pt idx="1408">
                  <c:v>0.0190833333333333</c:v>
                </c:pt>
                <c:pt idx="1409">
                  <c:v>0.0190833333333333</c:v>
                </c:pt>
                <c:pt idx="1410">
                  <c:v>0.0190833333333333</c:v>
                </c:pt>
                <c:pt idx="1411">
                  <c:v>0.0190833333333333</c:v>
                </c:pt>
                <c:pt idx="1412">
                  <c:v>0.0190833333333333</c:v>
                </c:pt>
                <c:pt idx="1413">
                  <c:v>0.0190833333333333</c:v>
                </c:pt>
                <c:pt idx="1414">
                  <c:v>0.0190833333333333</c:v>
                </c:pt>
                <c:pt idx="1415">
                  <c:v>0.0190833333333333</c:v>
                </c:pt>
                <c:pt idx="1416">
                  <c:v>0.0190833333333333</c:v>
                </c:pt>
                <c:pt idx="1417">
                  <c:v>0.0190833333333333</c:v>
                </c:pt>
                <c:pt idx="1418">
                  <c:v>0.0190833333333333</c:v>
                </c:pt>
                <c:pt idx="1419">
                  <c:v>0.0190833333333333</c:v>
                </c:pt>
                <c:pt idx="1420">
                  <c:v>0.0190833333333333</c:v>
                </c:pt>
                <c:pt idx="1421">
                  <c:v>0.0190833333333333</c:v>
                </c:pt>
                <c:pt idx="1422">
                  <c:v>0.0190833333333333</c:v>
                </c:pt>
                <c:pt idx="1423">
                  <c:v>0.0190833333333333</c:v>
                </c:pt>
                <c:pt idx="1424">
                  <c:v>0.0190833333333333</c:v>
                </c:pt>
                <c:pt idx="1425">
                  <c:v>0.0190833333333333</c:v>
                </c:pt>
                <c:pt idx="1426">
                  <c:v>0.0190833333333333</c:v>
                </c:pt>
                <c:pt idx="1427">
                  <c:v>0.0190833333333333</c:v>
                </c:pt>
                <c:pt idx="1428">
                  <c:v>0.0190833333333333</c:v>
                </c:pt>
                <c:pt idx="1429">
                  <c:v>0.0190833333333333</c:v>
                </c:pt>
                <c:pt idx="1430">
                  <c:v>0.0190833333333333</c:v>
                </c:pt>
                <c:pt idx="1431">
                  <c:v>0.0190833333333333</c:v>
                </c:pt>
                <c:pt idx="1432">
                  <c:v>0.0190833333333333</c:v>
                </c:pt>
                <c:pt idx="1433">
                  <c:v>0.0190833333333333</c:v>
                </c:pt>
                <c:pt idx="1434">
                  <c:v>0.0190833333333333</c:v>
                </c:pt>
                <c:pt idx="1435">
                  <c:v>0.0190833333333333</c:v>
                </c:pt>
                <c:pt idx="1436">
                  <c:v>0.0190833333333333</c:v>
                </c:pt>
                <c:pt idx="1437">
                  <c:v>0.0190833333333333</c:v>
                </c:pt>
                <c:pt idx="1438">
                  <c:v>0.0190833333333333</c:v>
                </c:pt>
                <c:pt idx="1439">
                  <c:v>0.00954166666666667</c:v>
                </c:pt>
                <c:pt idx="1440">
                  <c:v>0.00954166666666667</c:v>
                </c:pt>
                <c:pt idx="1441">
                  <c:v>0.00954166666666667</c:v>
                </c:pt>
                <c:pt idx="1442">
                  <c:v>0.00954166666666667</c:v>
                </c:pt>
                <c:pt idx="1443">
                  <c:v>0.00954166666666667</c:v>
                </c:pt>
                <c:pt idx="1444">
                  <c:v>0.00954166666666667</c:v>
                </c:pt>
                <c:pt idx="1445">
                  <c:v>0.00954166666666667</c:v>
                </c:pt>
                <c:pt idx="1446">
                  <c:v>0.00954166666666667</c:v>
                </c:pt>
                <c:pt idx="1447">
                  <c:v>0.00954166666666667</c:v>
                </c:pt>
                <c:pt idx="1448">
                  <c:v>0.00954166666666667</c:v>
                </c:pt>
                <c:pt idx="1449">
                  <c:v>0.00954166666666667</c:v>
                </c:pt>
                <c:pt idx="1450">
                  <c:v>0.00954166666666667</c:v>
                </c:pt>
                <c:pt idx="1451">
                  <c:v>0.00954166666666667</c:v>
                </c:pt>
                <c:pt idx="1452">
                  <c:v>0.00954166666666667</c:v>
                </c:pt>
                <c:pt idx="1453">
                  <c:v>0.00954166666666667</c:v>
                </c:pt>
                <c:pt idx="1454">
                  <c:v>0.00954166666666667</c:v>
                </c:pt>
                <c:pt idx="1455">
                  <c:v>0.00954166666666667</c:v>
                </c:pt>
                <c:pt idx="1456">
                  <c:v>0.00954166666666667</c:v>
                </c:pt>
                <c:pt idx="1457">
                  <c:v>0.00954166666666667</c:v>
                </c:pt>
                <c:pt idx="1458">
                  <c:v>0.00954166666666667</c:v>
                </c:pt>
                <c:pt idx="1459">
                  <c:v>0.00954166666666667</c:v>
                </c:pt>
                <c:pt idx="1460">
                  <c:v>0.00954166666666667</c:v>
                </c:pt>
                <c:pt idx="1461">
                  <c:v>0.00954166666666667</c:v>
                </c:pt>
                <c:pt idx="1462">
                  <c:v>0.00954166666666667</c:v>
                </c:pt>
                <c:pt idx="1463">
                  <c:v>0.00954166666666667</c:v>
                </c:pt>
                <c:pt idx="1464">
                  <c:v>0.00954166666666667</c:v>
                </c:pt>
                <c:pt idx="1465">
                  <c:v>0.00954166666666667</c:v>
                </c:pt>
                <c:pt idx="1466">
                  <c:v>0.00954166666666667</c:v>
                </c:pt>
                <c:pt idx="1467">
                  <c:v>0.00954166666666667</c:v>
                </c:pt>
                <c:pt idx="1468">
                  <c:v>0.00954166666666667</c:v>
                </c:pt>
                <c:pt idx="1469">
                  <c:v>0.00954166666666667</c:v>
                </c:pt>
                <c:pt idx="1470">
                  <c:v>0.00954166666666667</c:v>
                </c:pt>
                <c:pt idx="1471">
                  <c:v>0.00954166666666667</c:v>
                </c:pt>
                <c:pt idx="1472">
                  <c:v>0.00954166666666667</c:v>
                </c:pt>
                <c:pt idx="1473">
                  <c:v>0.00954166666666667</c:v>
                </c:pt>
                <c:pt idx="1474">
                  <c:v>0.00954166666666667</c:v>
                </c:pt>
                <c:pt idx="1475">
                  <c:v>0.00954166666666667</c:v>
                </c:pt>
                <c:pt idx="1476">
                  <c:v>0.00954166666666667</c:v>
                </c:pt>
                <c:pt idx="1477">
                  <c:v>0.0</c:v>
                </c:pt>
                <c:pt idx="1478">
                  <c:v>0.0</c:v>
                </c:pt>
                <c:pt idx="1479">
                  <c:v>0.0</c:v>
                </c:pt>
                <c:pt idx="1480">
                  <c:v>0.0</c:v>
                </c:pt>
                <c:pt idx="1481">
                  <c:v>0.0</c:v>
                </c:pt>
                <c:pt idx="1482">
                  <c:v>0.0</c:v>
                </c:pt>
                <c:pt idx="1483">
                  <c:v>0.0</c:v>
                </c:pt>
                <c:pt idx="1484">
                  <c:v>0.0</c:v>
                </c:pt>
                <c:pt idx="1485">
                  <c:v>0.0</c:v>
                </c:pt>
                <c:pt idx="1486">
                  <c:v>0.0</c:v>
                </c:pt>
                <c:pt idx="1487">
                  <c:v>0.0</c:v>
                </c:pt>
                <c:pt idx="1488">
                  <c:v>0.0</c:v>
                </c:pt>
                <c:pt idx="1489">
                  <c:v>0.0</c:v>
                </c:pt>
                <c:pt idx="1490">
                  <c:v>0.0</c:v>
                </c:pt>
                <c:pt idx="1491">
                  <c:v>0.0</c:v>
                </c:pt>
                <c:pt idx="1492">
                  <c:v>0.0</c:v>
                </c:pt>
                <c:pt idx="1493">
                  <c:v>0.0</c:v>
                </c:pt>
                <c:pt idx="1494">
                  <c:v>0.0</c:v>
                </c:pt>
                <c:pt idx="1495">
                  <c:v>0.0</c:v>
                </c:pt>
                <c:pt idx="1496">
                  <c:v>0.0</c:v>
                </c:pt>
                <c:pt idx="1497">
                  <c:v>0.0</c:v>
                </c:pt>
                <c:pt idx="1498">
                  <c:v>0.0</c:v>
                </c:pt>
                <c:pt idx="1499">
                  <c:v>0.0</c:v>
                </c:pt>
                <c:pt idx="1500">
                  <c:v>0.0</c:v>
                </c:pt>
                <c:pt idx="1501">
                  <c:v>0.0</c:v>
                </c:pt>
                <c:pt idx="1502">
                  <c:v>0.0</c:v>
                </c:pt>
                <c:pt idx="1503">
                  <c:v>0.0</c:v>
                </c:pt>
                <c:pt idx="1504">
                  <c:v>0.0</c:v>
                </c:pt>
                <c:pt idx="1505">
                  <c:v>0.0</c:v>
                </c:pt>
                <c:pt idx="1506">
                  <c:v>0.0</c:v>
                </c:pt>
                <c:pt idx="1507">
                  <c:v>0.0</c:v>
                </c:pt>
                <c:pt idx="1508">
                  <c:v>0.0</c:v>
                </c:pt>
                <c:pt idx="1509">
                  <c:v>0.0</c:v>
                </c:pt>
                <c:pt idx="1510">
                  <c:v>0.0</c:v>
                </c:pt>
                <c:pt idx="1511">
                  <c:v>0.0</c:v>
                </c:pt>
                <c:pt idx="1512">
                  <c:v>0.0</c:v>
                </c:pt>
                <c:pt idx="1513">
                  <c:v>0.0</c:v>
                </c:pt>
                <c:pt idx="1514">
                  <c:v>0.0</c:v>
                </c:pt>
                <c:pt idx="1515">
                  <c:v>0.0</c:v>
                </c:pt>
                <c:pt idx="1516">
                  <c:v>0.0</c:v>
                </c:pt>
                <c:pt idx="1517">
                  <c:v>0.0</c:v>
                </c:pt>
                <c:pt idx="1518">
                  <c:v>0.0</c:v>
                </c:pt>
                <c:pt idx="1519">
                  <c:v>0.0</c:v>
                </c:pt>
                <c:pt idx="1520">
                  <c:v>0.0</c:v>
                </c:pt>
                <c:pt idx="1521">
                  <c:v>0.0</c:v>
                </c:pt>
                <c:pt idx="1522">
                  <c:v>0.0</c:v>
                </c:pt>
                <c:pt idx="1523">
                  <c:v>0.0</c:v>
                </c:pt>
                <c:pt idx="1524">
                  <c:v>0.0</c:v>
                </c:pt>
                <c:pt idx="1525">
                  <c:v>0.0</c:v>
                </c:pt>
                <c:pt idx="1526">
                  <c:v>0.0</c:v>
                </c:pt>
                <c:pt idx="1527">
                  <c:v>0.0</c:v>
                </c:pt>
                <c:pt idx="1528">
                  <c:v>0.0</c:v>
                </c:pt>
                <c:pt idx="1529">
                  <c:v>0.0</c:v>
                </c:pt>
                <c:pt idx="1530">
                  <c:v>0.0</c:v>
                </c:pt>
                <c:pt idx="1531">
                  <c:v>0.0</c:v>
                </c:pt>
                <c:pt idx="1532">
                  <c:v>0.0</c:v>
                </c:pt>
                <c:pt idx="1533">
                  <c:v>0.0</c:v>
                </c:pt>
                <c:pt idx="1534">
                  <c:v>0.0</c:v>
                </c:pt>
                <c:pt idx="1535">
                  <c:v>0.0</c:v>
                </c:pt>
                <c:pt idx="1536">
                  <c:v>0.0</c:v>
                </c:pt>
                <c:pt idx="1537">
                  <c:v>0.0</c:v>
                </c:pt>
                <c:pt idx="1538">
                  <c:v>0.0</c:v>
                </c:pt>
                <c:pt idx="1539">
                  <c:v>0.0</c:v>
                </c:pt>
                <c:pt idx="1540">
                  <c:v>0.0</c:v>
                </c:pt>
                <c:pt idx="1541">
                  <c:v>0.0</c:v>
                </c:pt>
                <c:pt idx="1542">
                  <c:v>0.0</c:v>
                </c:pt>
                <c:pt idx="1543">
                  <c:v>0.0</c:v>
                </c:pt>
                <c:pt idx="1544">
                  <c:v>0.0</c:v>
                </c:pt>
                <c:pt idx="1545">
                  <c:v>0.0</c:v>
                </c:pt>
                <c:pt idx="1546">
                  <c:v>0.0</c:v>
                </c:pt>
                <c:pt idx="1547">
                  <c:v>0.0</c:v>
                </c:pt>
                <c:pt idx="1548">
                  <c:v>0.0</c:v>
                </c:pt>
                <c:pt idx="1549">
                  <c:v>0.0</c:v>
                </c:pt>
                <c:pt idx="1550">
                  <c:v>0.0</c:v>
                </c:pt>
                <c:pt idx="1551">
                  <c:v>0.0</c:v>
                </c:pt>
                <c:pt idx="1552">
                  <c:v>0.0</c:v>
                </c:pt>
                <c:pt idx="1553">
                  <c:v>0.0</c:v>
                </c:pt>
                <c:pt idx="1554">
                  <c:v>0.0</c:v>
                </c:pt>
                <c:pt idx="1555">
                  <c:v>0.0</c:v>
                </c:pt>
                <c:pt idx="1556">
                  <c:v>0.0</c:v>
                </c:pt>
                <c:pt idx="1557">
                  <c:v>0.0</c:v>
                </c:pt>
                <c:pt idx="1558">
                  <c:v>0.0</c:v>
                </c:pt>
                <c:pt idx="1559">
                  <c:v>0.0</c:v>
                </c:pt>
                <c:pt idx="1560">
                  <c:v>0.0</c:v>
                </c:pt>
                <c:pt idx="1561">
                  <c:v>0.0</c:v>
                </c:pt>
                <c:pt idx="1562">
                  <c:v>0.0</c:v>
                </c:pt>
                <c:pt idx="1563">
                  <c:v>0.0</c:v>
                </c:pt>
                <c:pt idx="1564">
                  <c:v>0.0</c:v>
                </c:pt>
                <c:pt idx="1565">
                  <c:v>0.0</c:v>
                </c:pt>
                <c:pt idx="1566">
                  <c:v>0.0</c:v>
                </c:pt>
                <c:pt idx="1567">
                  <c:v>0.0</c:v>
                </c:pt>
                <c:pt idx="1568">
                  <c:v>0.0</c:v>
                </c:pt>
                <c:pt idx="1569">
                  <c:v>0.0</c:v>
                </c:pt>
                <c:pt idx="1570">
                  <c:v>0.0</c:v>
                </c:pt>
                <c:pt idx="1571">
                  <c:v>0.0</c:v>
                </c:pt>
                <c:pt idx="1572">
                  <c:v>0.0</c:v>
                </c:pt>
                <c:pt idx="1573">
                  <c:v>0.0</c:v>
                </c:pt>
                <c:pt idx="1574">
                  <c:v>0.0</c:v>
                </c:pt>
                <c:pt idx="1575">
                  <c:v>0.0</c:v>
                </c:pt>
                <c:pt idx="1576">
                  <c:v>0.0</c:v>
                </c:pt>
                <c:pt idx="1577">
                  <c:v>0.0</c:v>
                </c:pt>
                <c:pt idx="1578">
                  <c:v>0.0</c:v>
                </c:pt>
                <c:pt idx="1579">
                  <c:v>0.0</c:v>
                </c:pt>
                <c:pt idx="1580">
                  <c:v>0.0</c:v>
                </c:pt>
                <c:pt idx="1581">
                  <c:v>0.0</c:v>
                </c:pt>
                <c:pt idx="1582">
                  <c:v>0.0</c:v>
                </c:pt>
                <c:pt idx="1583">
                  <c:v>0.0</c:v>
                </c:pt>
                <c:pt idx="1584">
                  <c:v>0.0</c:v>
                </c:pt>
                <c:pt idx="1585">
                  <c:v>0.0</c:v>
                </c:pt>
                <c:pt idx="1586">
                  <c:v>0.0</c:v>
                </c:pt>
                <c:pt idx="1587">
                  <c:v>0.0</c:v>
                </c:pt>
                <c:pt idx="1588">
                  <c:v>0.0</c:v>
                </c:pt>
                <c:pt idx="1589">
                  <c:v>0.0</c:v>
                </c:pt>
                <c:pt idx="1590">
                  <c:v>0.0</c:v>
                </c:pt>
                <c:pt idx="1591">
                  <c:v>0.0</c:v>
                </c:pt>
                <c:pt idx="1592">
                  <c:v>0.0</c:v>
                </c:pt>
                <c:pt idx="1593">
                  <c:v>0.0</c:v>
                </c:pt>
                <c:pt idx="1594">
                  <c:v>0.0</c:v>
                </c:pt>
                <c:pt idx="1595">
                  <c:v>0.0</c:v>
                </c:pt>
                <c:pt idx="1596">
                  <c:v>0.0</c:v>
                </c:pt>
                <c:pt idx="1597">
                  <c:v>0.0</c:v>
                </c:pt>
                <c:pt idx="1598">
                  <c:v>0.0</c:v>
                </c:pt>
                <c:pt idx="1599">
                  <c:v>0.0</c:v>
                </c:pt>
                <c:pt idx="1600">
                  <c:v>0.0</c:v>
                </c:pt>
                <c:pt idx="1601">
                  <c:v>0.0</c:v>
                </c:pt>
                <c:pt idx="1602">
                  <c:v>0.0</c:v>
                </c:pt>
                <c:pt idx="1603">
                  <c:v>0.0</c:v>
                </c:pt>
                <c:pt idx="1604">
                  <c:v>0.0</c:v>
                </c:pt>
                <c:pt idx="1605">
                  <c:v>0.0</c:v>
                </c:pt>
                <c:pt idx="1606">
                  <c:v>0.0</c:v>
                </c:pt>
                <c:pt idx="1607">
                  <c:v>0.0</c:v>
                </c:pt>
                <c:pt idx="1608">
                  <c:v>0.0</c:v>
                </c:pt>
                <c:pt idx="1609">
                  <c:v>0.0</c:v>
                </c:pt>
                <c:pt idx="1610">
                  <c:v>0.0</c:v>
                </c:pt>
                <c:pt idx="1611">
                  <c:v>0.0</c:v>
                </c:pt>
                <c:pt idx="1612">
                  <c:v>0.0</c:v>
                </c:pt>
                <c:pt idx="1613">
                  <c:v>0.0</c:v>
                </c:pt>
                <c:pt idx="1614">
                  <c:v>0.0</c:v>
                </c:pt>
                <c:pt idx="1615">
                  <c:v>0.0</c:v>
                </c:pt>
                <c:pt idx="1616">
                  <c:v>0.0</c:v>
                </c:pt>
                <c:pt idx="1617">
                  <c:v>0.0</c:v>
                </c:pt>
                <c:pt idx="1618">
                  <c:v>0.0</c:v>
                </c:pt>
                <c:pt idx="1619">
                  <c:v>0.0</c:v>
                </c:pt>
                <c:pt idx="1620">
                  <c:v>0.0</c:v>
                </c:pt>
                <c:pt idx="1621">
                  <c:v>0.0</c:v>
                </c:pt>
                <c:pt idx="1622">
                  <c:v>0.0</c:v>
                </c:pt>
                <c:pt idx="1623">
                  <c:v>0.0</c:v>
                </c:pt>
                <c:pt idx="1624">
                  <c:v>0.0</c:v>
                </c:pt>
                <c:pt idx="1625">
                  <c:v>0.0</c:v>
                </c:pt>
                <c:pt idx="1626">
                  <c:v>0.0</c:v>
                </c:pt>
                <c:pt idx="1627">
                  <c:v>0.0</c:v>
                </c:pt>
                <c:pt idx="1628">
                  <c:v>0.0</c:v>
                </c:pt>
                <c:pt idx="1629">
                  <c:v>0.0</c:v>
                </c:pt>
                <c:pt idx="1630">
                  <c:v>0.0</c:v>
                </c:pt>
                <c:pt idx="1631">
                  <c:v>0.0</c:v>
                </c:pt>
                <c:pt idx="1632">
                  <c:v>0.0</c:v>
                </c:pt>
                <c:pt idx="1633">
                  <c:v>0.0</c:v>
                </c:pt>
                <c:pt idx="1634">
                  <c:v>0.0</c:v>
                </c:pt>
                <c:pt idx="1635">
                  <c:v>0.0</c:v>
                </c:pt>
                <c:pt idx="1636">
                  <c:v>0.0</c:v>
                </c:pt>
                <c:pt idx="1637">
                  <c:v>0.0</c:v>
                </c:pt>
                <c:pt idx="1638">
                  <c:v>0.0</c:v>
                </c:pt>
                <c:pt idx="1639">
                  <c:v>0.0</c:v>
                </c:pt>
                <c:pt idx="1640">
                  <c:v>0.0</c:v>
                </c:pt>
                <c:pt idx="1641">
                  <c:v>0.0</c:v>
                </c:pt>
                <c:pt idx="1642">
                  <c:v>0.0</c:v>
                </c:pt>
                <c:pt idx="1643">
                  <c:v>0.0</c:v>
                </c:pt>
                <c:pt idx="1644">
                  <c:v>0.0</c:v>
                </c:pt>
                <c:pt idx="1645">
                  <c:v>0.0</c:v>
                </c:pt>
                <c:pt idx="1646">
                  <c:v>0.0</c:v>
                </c:pt>
                <c:pt idx="1647">
                  <c:v>0.0</c:v>
                </c:pt>
                <c:pt idx="1648">
                  <c:v>0.0</c:v>
                </c:pt>
                <c:pt idx="1649">
                  <c:v>0.0</c:v>
                </c:pt>
                <c:pt idx="1650">
                  <c:v>0.0</c:v>
                </c:pt>
                <c:pt idx="1651">
                  <c:v>0.0</c:v>
                </c:pt>
                <c:pt idx="1652">
                  <c:v>0.0</c:v>
                </c:pt>
                <c:pt idx="1653">
                  <c:v>0.0</c:v>
                </c:pt>
                <c:pt idx="1654">
                  <c:v>0.0</c:v>
                </c:pt>
                <c:pt idx="1655">
                  <c:v>0.0</c:v>
                </c:pt>
                <c:pt idx="1656">
                  <c:v>0.0</c:v>
                </c:pt>
                <c:pt idx="1657">
                  <c:v>0.0</c:v>
                </c:pt>
                <c:pt idx="1658">
                  <c:v>0.0</c:v>
                </c:pt>
                <c:pt idx="1659">
                  <c:v>0.0</c:v>
                </c:pt>
                <c:pt idx="1660">
                  <c:v>0.0</c:v>
                </c:pt>
                <c:pt idx="1661">
                  <c:v>0.0</c:v>
                </c:pt>
                <c:pt idx="1662">
                  <c:v>0.0</c:v>
                </c:pt>
                <c:pt idx="1663">
                  <c:v>0.0</c:v>
                </c:pt>
                <c:pt idx="1664">
                  <c:v>0.0</c:v>
                </c:pt>
                <c:pt idx="1665">
                  <c:v>0.0</c:v>
                </c:pt>
                <c:pt idx="1666">
                  <c:v>0.0</c:v>
                </c:pt>
                <c:pt idx="1667">
                  <c:v>0.0</c:v>
                </c:pt>
                <c:pt idx="1668">
                  <c:v>0.0</c:v>
                </c:pt>
                <c:pt idx="1669">
                  <c:v>0.0</c:v>
                </c:pt>
                <c:pt idx="1670">
                  <c:v>0.0</c:v>
                </c:pt>
              </c:numCache>
            </c:numRef>
          </c:val>
        </c:ser>
        <c:dLbls>
          <c:showLegendKey val="0"/>
          <c:showVal val="0"/>
          <c:showCatName val="0"/>
          <c:showSerName val="0"/>
          <c:showPercent val="0"/>
          <c:showBubbleSize val="0"/>
        </c:dLbls>
        <c:gapWidth val="150"/>
        <c:axId val="-2092833896"/>
        <c:axId val="-2094812328"/>
      </c:barChart>
      <c:catAx>
        <c:axId val="-2092833896"/>
        <c:scaling>
          <c:orientation val="minMax"/>
        </c:scaling>
        <c:delete val="0"/>
        <c:axPos val="b"/>
        <c:title>
          <c:tx>
            <c:rich>
              <a:bodyPr/>
              <a:lstStyle/>
              <a:p>
                <a:pPr>
                  <a:defRPr sz="1200">
                    <a:latin typeface="Calibri" panose="020F0502020204030204" pitchFamily="34" charset="0"/>
                  </a:defRPr>
                </a:pPr>
                <a:r>
                  <a:rPr lang="en-US" sz="1200" dirty="0">
                    <a:latin typeface="Calibri" panose="020F0502020204030204" pitchFamily="34" charset="0"/>
                  </a:rPr>
                  <a:t>Individual</a:t>
                </a:r>
                <a:r>
                  <a:rPr lang="en-US" sz="1200" baseline="0" dirty="0">
                    <a:latin typeface="Calibri" panose="020F0502020204030204" pitchFamily="34" charset="0"/>
                  </a:rPr>
                  <a:t> Facilities</a:t>
                </a:r>
                <a:endParaRPr lang="en-US" sz="1200" dirty="0">
                  <a:latin typeface="Calibri" panose="020F0502020204030204" pitchFamily="34" charset="0"/>
                </a:endParaRPr>
              </a:p>
            </c:rich>
          </c:tx>
          <c:layout>
            <c:manualLayout>
              <c:xMode val="edge"/>
              <c:yMode val="edge"/>
              <c:x val="0.392271898216113"/>
              <c:y val="0.918134090556322"/>
            </c:manualLayout>
          </c:layout>
          <c:overlay val="0"/>
        </c:title>
        <c:majorTickMark val="out"/>
        <c:minorTickMark val="none"/>
        <c:tickLblPos val="nextTo"/>
        <c:crossAx val="-2094812328"/>
        <c:crosses val="autoZero"/>
        <c:auto val="1"/>
        <c:lblAlgn val="ctr"/>
        <c:lblOffset val="100"/>
        <c:noMultiLvlLbl val="0"/>
      </c:catAx>
      <c:valAx>
        <c:axId val="-2094812328"/>
        <c:scaling>
          <c:orientation val="minMax"/>
        </c:scaling>
        <c:delete val="0"/>
        <c:axPos val="l"/>
        <c:title>
          <c:tx>
            <c:rich>
              <a:bodyPr rot="-5400000" vert="horz"/>
              <a:lstStyle/>
              <a:p>
                <a:pPr>
                  <a:defRPr sz="700" b="1">
                    <a:latin typeface="Calibri" panose="020F0502020204030204" pitchFamily="34" charset="0"/>
                  </a:defRPr>
                </a:pPr>
                <a:r>
                  <a:rPr lang="en-US" sz="1200" b="1" i="0" baseline="0">
                    <a:effectLst/>
                    <a:latin typeface="Calibri" panose="020F0502020204030204" pitchFamily="34" charset="0"/>
                  </a:rPr>
                  <a:t>EID Tests per Day</a:t>
                </a:r>
                <a:endParaRPr lang="en-US" sz="700" b="1">
                  <a:effectLst/>
                  <a:latin typeface="Calibri" panose="020F0502020204030204" pitchFamily="34" charset="0"/>
                </a:endParaRPr>
              </a:p>
            </c:rich>
          </c:tx>
          <c:layout>
            <c:manualLayout>
              <c:xMode val="edge"/>
              <c:yMode val="edge"/>
              <c:x val="0.0169491525423729"/>
              <c:y val="0.335344982277851"/>
            </c:manualLayout>
          </c:layout>
          <c:overlay val="0"/>
        </c:title>
        <c:numFmt formatCode="General" sourceLinked="1"/>
        <c:majorTickMark val="out"/>
        <c:minorTickMark val="none"/>
        <c:tickLblPos val="nextTo"/>
        <c:crossAx val="-2092833896"/>
        <c:crosses val="autoZero"/>
        <c:crossBetween val="between"/>
      </c:valAx>
    </c:plotArea>
    <c:plotVisOnly val="1"/>
    <c:dispBlanksAs val="gap"/>
    <c:showDLblsOverMax val="0"/>
  </c:chart>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9.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5DB8AB7-10E2-485C-A719-354BE020591B}" type="datetimeFigureOut">
              <a:rPr lang="en-US" smtClean="0"/>
              <a:t>7/23/18</a:t>
            </a:fld>
            <a:endParaRPr lang="en-US"/>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35F83D48-E723-40F8-8650-15785A179B9F}" type="slidenum">
              <a:rPr lang="en-US" smtClean="0"/>
              <a:t>‹#›</a:t>
            </a:fld>
            <a:endParaRPr lang="en-US"/>
          </a:p>
        </p:txBody>
      </p:sp>
    </p:spTree>
    <p:extLst>
      <p:ext uri="{BB962C8B-B14F-4D97-AF65-F5344CB8AC3E}">
        <p14:creationId xmlns:p14="http://schemas.microsoft.com/office/powerpoint/2010/main" val="28540772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xml"/></Relationships>
</file>

<file path=ppt/notesSlides/_rels/notesSlide3.xml.rels><?xml version="1.0" encoding="UTF-8" standalone="yes"?>
<Relationships xmlns="http://schemas.openxmlformats.org/package/2006/relationships"><Relationship Id="rId1" Type="http://schemas.openxmlformats.org/officeDocument/2006/relationships/tags" Target="../tags/tag19.xml"/><Relationship Id="rId2" Type="http://schemas.openxmlformats.org/officeDocument/2006/relationships/notesMaster" Target="../notesMasters/notesMaster1.xml"/><Relationship Id="rId3" Type="http://schemas.openxmlformats.org/officeDocument/2006/relationships/slide" Target="../slides/slide3.xml"/></Relationships>
</file>

<file path=ppt/notesSlides/_rels/notesSlide4.xml.rels><?xml version="1.0" encoding="UTF-8" standalone="yes"?>
<Relationships xmlns="http://schemas.openxmlformats.org/package/2006/relationships"><Relationship Id="rId1" Type="http://schemas.openxmlformats.org/officeDocument/2006/relationships/tags" Target="../tags/tag20.xml"/><Relationship Id="rId2" Type="http://schemas.openxmlformats.org/officeDocument/2006/relationships/notesMaster" Target="../notesMasters/notesMaster1.xml"/><Relationship Id="rId3" Type="http://schemas.openxmlformats.org/officeDocument/2006/relationships/slide" Target="../slides/slide4.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aseline="0" dirty="0" smtClean="0"/>
              <a:t>Through the decentralization of PMTCT and scale-up of conventional EID, the number of sites offering PMTCT services and collecting EID samples is very high. However, the majority of HIV-exposed infants are concentrated at a small number of facilities. By providing POC EID at these high-volume sites, and large proportion of the HEI population can have access to POC EID without the need to deploy devices to a lot of facilities. </a:t>
            </a:r>
          </a:p>
          <a:p>
            <a:endParaRPr lang="en-US" baseline="0" dirty="0" smtClean="0"/>
          </a:p>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6C0ACC52-C4B6-41FA-8CA7-51EDC34AEEA3}" type="slidenum">
              <a:rPr lang="en-US" smtClean="0">
                <a:solidFill>
                  <a:prstClr val="black"/>
                </a:solidFill>
                <a:latin typeface="Calibri"/>
              </a:rPr>
              <a:pPr/>
              <a:t>1</a:t>
            </a:fld>
            <a:endParaRPr lang="en-US" dirty="0">
              <a:solidFill>
                <a:prstClr val="black"/>
              </a:solidFill>
              <a:latin typeface="Calibri"/>
            </a:endParaRPr>
          </a:p>
        </p:txBody>
      </p:sp>
    </p:spTree>
    <p:extLst>
      <p:ext uri="{BB962C8B-B14F-4D97-AF65-F5344CB8AC3E}">
        <p14:creationId xmlns:p14="http://schemas.microsoft.com/office/powerpoint/2010/main" val="168234553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kumimoji="1" lang="zh-CN" altLang="en-US" dirty="0"/>
          </a:p>
        </p:txBody>
      </p:sp>
      <p:sp>
        <p:nvSpPr>
          <p:cNvPr id="4" name="Slide Number Placeholder 3"/>
          <p:cNvSpPr>
            <a:spLocks noGrp="1"/>
          </p:cNvSpPr>
          <p:nvPr>
            <p:ph type="sldNum" sz="quarter" idx="10"/>
          </p:nvPr>
        </p:nvSpPr>
        <p:spPr/>
        <p:txBody>
          <a:bodyPr/>
          <a:lstStyle/>
          <a:p>
            <a:pPr>
              <a:defRPr/>
            </a:pPr>
            <a:fld id="{B83AAE5F-0447-4A6C-868C-B33D3A1A9E19}" type="slidenum">
              <a:rPr lang="en-US" smtClean="0">
                <a:solidFill>
                  <a:prstClr val="black"/>
                </a:solidFill>
              </a:rPr>
              <a:pPr>
                <a:defRPr/>
              </a:pPr>
              <a:t>2</a:t>
            </a:fld>
            <a:endParaRPr lang="en-US" dirty="0">
              <a:solidFill>
                <a:prstClr val="black"/>
              </a:solidFill>
            </a:endParaRPr>
          </a:p>
        </p:txBody>
      </p:sp>
    </p:spTree>
    <p:extLst>
      <p:ext uri="{BB962C8B-B14F-4D97-AF65-F5344CB8AC3E}">
        <p14:creationId xmlns:p14="http://schemas.microsoft.com/office/powerpoint/2010/main" val="147076122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p:txBody>
          <a:bodyPr/>
          <a:lstStyle/>
          <a:p>
            <a:pPr>
              <a:defRPr/>
            </a:pPr>
            <a:fld id="{1D116485-CB0E-8049-A23A-BA0FADA796D2}" type="slidenum">
              <a:rPr lang="en-US">
                <a:solidFill>
                  <a:prstClr val="black"/>
                </a:solidFill>
              </a:rPr>
              <a:pPr>
                <a:defRPr/>
              </a:pPr>
              <a:t>3</a:t>
            </a:fld>
            <a:endParaRPr lang="en-US" dirty="0">
              <a:solidFill>
                <a:prstClr val="black"/>
              </a:solidFill>
            </a:endParaRPr>
          </a:p>
        </p:txBody>
      </p:sp>
      <p:sp>
        <p:nvSpPr>
          <p:cNvPr id="73730" name="Rectangle 2"/>
          <p:cNvSpPr>
            <a:spLocks noGrp="1" noRot="1" noChangeAspect="1" noChangeArrowheads="1" noTextEdit="1"/>
          </p:cNvSpPr>
          <p:nvPr>
            <p:ph type="sldImg"/>
          </p:nvPr>
        </p:nvSpPr>
        <p:spPr>
          <a:xfrm>
            <a:off x="-1797050" y="1177925"/>
            <a:ext cx="10407650" cy="7807325"/>
          </a:xfrm>
          <a:ln/>
        </p:spPr>
      </p:sp>
      <p:sp>
        <p:nvSpPr>
          <p:cNvPr id="73731" name="Rectangle 3"/>
          <p:cNvSpPr>
            <a:spLocks noGrp="1" noChangeArrowheads="1"/>
          </p:cNvSpPr>
          <p:nvPr>
            <p:ph type="body" idx="1"/>
          </p:nvPr>
        </p:nvSpPr>
        <p:spPr>
          <a:xfrm>
            <a:off x="550864" y="327911"/>
            <a:ext cx="4052887" cy="23578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dirty="0">
              <a:ea typeface="ＭＳ Ｐゴシック" charset="0"/>
            </a:endParaRPr>
          </a:p>
          <a:p>
            <a:endParaRPr lang="en-GB" dirty="0">
              <a:ea typeface="ＭＳ Ｐゴシック" charset="0"/>
            </a:endParaRPr>
          </a:p>
        </p:txBody>
      </p:sp>
      <p:sp>
        <p:nvSpPr>
          <p:cNvPr id="24581" name="McK Separator"/>
          <p:cNvSpPr>
            <a:spLocks noChangeShapeType="1"/>
          </p:cNvSpPr>
          <p:nvPr>
            <p:custDataLst>
              <p:tags r:id="rId1"/>
            </p:custDataLst>
          </p:nvPr>
        </p:nvSpPr>
        <p:spPr bwMode="auto">
          <a:xfrm>
            <a:off x="563563" y="1397521"/>
            <a:ext cx="5595937" cy="0"/>
          </a:xfrm>
          <a:prstGeom prst="line">
            <a:avLst/>
          </a:prstGeom>
          <a:noFill/>
          <a:ln w="9525">
            <a:solidFill>
              <a:schemeClr val="tx1"/>
            </a:solidFill>
            <a:round/>
            <a:headEnd/>
            <a:tailEnd/>
          </a:ln>
        </p:spPr>
        <p:txBody>
          <a:bodyPr/>
          <a:lstStyle/>
          <a:p>
            <a:pPr>
              <a:defRPr/>
            </a:pPr>
            <a:endParaRPr lang="en-US" dirty="0">
              <a:solidFill>
                <a:prstClr val="black"/>
              </a:solidFill>
              <a:cs typeface="Arial" charset="0"/>
            </a:endParaRPr>
          </a:p>
        </p:txBody>
      </p:sp>
    </p:spTree>
    <p:extLst>
      <p:ext uri="{BB962C8B-B14F-4D97-AF65-F5344CB8AC3E}">
        <p14:creationId xmlns:p14="http://schemas.microsoft.com/office/powerpoint/2010/main" val="198683888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78" name="Rectangle 7"/>
          <p:cNvSpPr>
            <a:spLocks noGrp="1" noChangeArrowheads="1"/>
          </p:cNvSpPr>
          <p:nvPr>
            <p:ph type="sldNum" sz="quarter" idx="5"/>
          </p:nvPr>
        </p:nvSpPr>
        <p:spPr/>
        <p:txBody>
          <a:bodyPr/>
          <a:lstStyle/>
          <a:p>
            <a:pPr>
              <a:defRPr/>
            </a:pPr>
            <a:fld id="{1D116485-CB0E-8049-A23A-BA0FADA796D2}" type="slidenum">
              <a:rPr lang="en-US">
                <a:solidFill>
                  <a:prstClr val="black"/>
                </a:solidFill>
              </a:rPr>
              <a:pPr>
                <a:defRPr/>
              </a:pPr>
              <a:t>4</a:t>
            </a:fld>
            <a:endParaRPr lang="en-US" dirty="0">
              <a:solidFill>
                <a:prstClr val="black"/>
              </a:solidFill>
            </a:endParaRPr>
          </a:p>
        </p:txBody>
      </p:sp>
      <p:sp>
        <p:nvSpPr>
          <p:cNvPr id="73730" name="Rectangle 2"/>
          <p:cNvSpPr>
            <a:spLocks noGrp="1" noRot="1" noChangeAspect="1" noChangeArrowheads="1" noTextEdit="1"/>
          </p:cNvSpPr>
          <p:nvPr>
            <p:ph type="sldImg"/>
          </p:nvPr>
        </p:nvSpPr>
        <p:spPr>
          <a:xfrm>
            <a:off x="-1797050" y="1177925"/>
            <a:ext cx="10407650" cy="7807325"/>
          </a:xfrm>
          <a:ln/>
        </p:spPr>
      </p:sp>
      <p:sp>
        <p:nvSpPr>
          <p:cNvPr id="73731" name="Rectangle 3"/>
          <p:cNvSpPr>
            <a:spLocks noGrp="1" noChangeArrowheads="1"/>
          </p:cNvSpPr>
          <p:nvPr>
            <p:ph type="body" idx="1"/>
          </p:nvPr>
        </p:nvSpPr>
        <p:spPr>
          <a:xfrm>
            <a:off x="550864" y="327911"/>
            <a:ext cx="4052887" cy="23578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GB" dirty="0">
              <a:ea typeface="ＭＳ Ｐゴシック" charset="0"/>
            </a:endParaRPr>
          </a:p>
          <a:p>
            <a:endParaRPr lang="en-GB" dirty="0">
              <a:ea typeface="ＭＳ Ｐゴシック" charset="0"/>
            </a:endParaRPr>
          </a:p>
        </p:txBody>
      </p:sp>
      <p:sp>
        <p:nvSpPr>
          <p:cNvPr id="24581" name="McK Separator"/>
          <p:cNvSpPr>
            <a:spLocks noChangeShapeType="1"/>
          </p:cNvSpPr>
          <p:nvPr>
            <p:custDataLst>
              <p:tags r:id="rId1"/>
            </p:custDataLst>
          </p:nvPr>
        </p:nvSpPr>
        <p:spPr bwMode="auto">
          <a:xfrm>
            <a:off x="563563" y="1397521"/>
            <a:ext cx="5595937" cy="0"/>
          </a:xfrm>
          <a:prstGeom prst="line">
            <a:avLst/>
          </a:prstGeom>
          <a:noFill/>
          <a:ln w="9525">
            <a:solidFill>
              <a:schemeClr val="tx1"/>
            </a:solidFill>
            <a:round/>
            <a:headEnd/>
            <a:tailEnd/>
          </a:ln>
        </p:spPr>
        <p:txBody>
          <a:bodyPr/>
          <a:lstStyle/>
          <a:p>
            <a:pPr>
              <a:defRPr/>
            </a:pPr>
            <a:endParaRPr lang="en-US" dirty="0">
              <a:solidFill>
                <a:prstClr val="black"/>
              </a:solidFill>
              <a:cs typeface="Arial" charset="0"/>
            </a:endParaRPr>
          </a:p>
        </p:txBody>
      </p:sp>
    </p:spTree>
    <p:extLst>
      <p:ext uri="{BB962C8B-B14F-4D97-AF65-F5344CB8AC3E}">
        <p14:creationId xmlns:p14="http://schemas.microsoft.com/office/powerpoint/2010/main" val="132114799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FR" dirty="0"/>
          </a:p>
        </p:txBody>
      </p:sp>
      <p:sp>
        <p:nvSpPr>
          <p:cNvPr id="4" name="Slide Number Placeholder 3"/>
          <p:cNvSpPr>
            <a:spLocks noGrp="1"/>
          </p:cNvSpPr>
          <p:nvPr>
            <p:ph type="sldNum" sz="quarter" idx="10"/>
          </p:nvPr>
        </p:nvSpPr>
        <p:spPr/>
        <p:txBody>
          <a:bodyPr/>
          <a:lstStyle/>
          <a:p>
            <a:fld id="{6C0ACC52-C4B6-41FA-8CA7-51EDC34AEEA3}" type="slidenum">
              <a:rPr lang="en-US" smtClean="0"/>
              <a:t>10</a:t>
            </a:fld>
            <a:endParaRPr lang="en-US" dirty="0"/>
          </a:p>
        </p:txBody>
      </p:sp>
    </p:spTree>
    <p:extLst>
      <p:ext uri="{BB962C8B-B14F-4D97-AF65-F5344CB8AC3E}">
        <p14:creationId xmlns:p14="http://schemas.microsoft.com/office/powerpoint/2010/main" val="22366176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2.bin"/><Relationship Id="rId5" Type="http://schemas.openxmlformats.org/officeDocument/2006/relationships/image" Target="../media/image1.emf"/><Relationship Id="rId6" Type="http://schemas.openxmlformats.org/officeDocument/2006/relationships/image" Target="../media/image4.png"/><Relationship Id="rId7" Type="http://schemas.openxmlformats.org/officeDocument/2006/relationships/image" Target="../media/image5.png"/><Relationship Id="rId8" Type="http://schemas.openxmlformats.org/officeDocument/2006/relationships/image" Target="../media/image3.emf"/><Relationship Id="rId1" Type="http://schemas.openxmlformats.org/officeDocument/2006/relationships/vmlDrawing" Target="../drawings/vmlDrawing2.vml"/><Relationship Id="rId2" Type="http://schemas.openxmlformats.org/officeDocument/2006/relationships/tags" Target="../tags/tag2.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3.bin"/><Relationship Id="rId5" Type="http://schemas.openxmlformats.org/officeDocument/2006/relationships/image" Target="../media/image6.emf"/><Relationship Id="rId1" Type="http://schemas.openxmlformats.org/officeDocument/2006/relationships/vmlDrawing" Target="../drawings/vmlDrawing3.vml"/><Relationship Id="rId2" Type="http://schemas.openxmlformats.org/officeDocument/2006/relationships/tags" Target="../tags/tag3.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4.bin"/><Relationship Id="rId5" Type="http://schemas.openxmlformats.org/officeDocument/2006/relationships/image" Target="../media/image1.emf"/><Relationship Id="rId1" Type="http://schemas.openxmlformats.org/officeDocument/2006/relationships/vmlDrawing" Target="../drawings/vmlDrawing4.vml"/><Relationship Id="rId2" Type="http://schemas.openxmlformats.org/officeDocument/2006/relationships/tags" Target="../tags/tag4.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5.bin"/><Relationship Id="rId5" Type="http://schemas.openxmlformats.org/officeDocument/2006/relationships/image" Target="../media/image1.emf"/><Relationship Id="rId1" Type="http://schemas.openxmlformats.org/officeDocument/2006/relationships/vmlDrawing" Target="../drawings/vmlDrawing5.vml"/><Relationship Id="rId2" Type="http://schemas.openxmlformats.org/officeDocument/2006/relationships/tags" Target="../tags/tag5.xml"/></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2.xml"/><Relationship Id="rId4" Type="http://schemas.openxmlformats.org/officeDocument/2006/relationships/oleObject" Target="../embeddings/oleObject6.bin"/><Relationship Id="rId5" Type="http://schemas.openxmlformats.org/officeDocument/2006/relationships/image" Target="../media/image1.emf"/><Relationship Id="rId6" Type="http://schemas.openxmlformats.org/officeDocument/2006/relationships/image" Target="../media/image7.png"/><Relationship Id="rId7" Type="http://schemas.openxmlformats.org/officeDocument/2006/relationships/image" Target="../media/image3.emf"/><Relationship Id="rId1" Type="http://schemas.openxmlformats.org/officeDocument/2006/relationships/vmlDrawing" Target="../drawings/vmlDrawing6.vml"/><Relationship Id="rId2" Type="http://schemas.openxmlformats.org/officeDocument/2006/relationships/tags" Target="../tags/tag6.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8.bin"/><Relationship Id="rId5" Type="http://schemas.openxmlformats.org/officeDocument/2006/relationships/image" Target="../media/image1.emf"/><Relationship Id="rId6" Type="http://schemas.openxmlformats.org/officeDocument/2006/relationships/image" Target="../media/image4.png"/><Relationship Id="rId7" Type="http://schemas.openxmlformats.org/officeDocument/2006/relationships/image" Target="../media/image5.png"/><Relationship Id="rId8" Type="http://schemas.openxmlformats.org/officeDocument/2006/relationships/image" Target="../media/image3.emf"/><Relationship Id="rId1" Type="http://schemas.openxmlformats.org/officeDocument/2006/relationships/vmlDrawing" Target="../drawings/vmlDrawing8.vml"/><Relationship Id="rId2" Type="http://schemas.openxmlformats.org/officeDocument/2006/relationships/tags" Target="../tags/tag8.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9.bin"/><Relationship Id="rId5" Type="http://schemas.openxmlformats.org/officeDocument/2006/relationships/image" Target="../media/image6.emf"/><Relationship Id="rId1" Type="http://schemas.openxmlformats.org/officeDocument/2006/relationships/vmlDrawing" Target="../drawings/vmlDrawing9.vml"/><Relationship Id="rId2" Type="http://schemas.openxmlformats.org/officeDocument/2006/relationships/tags" Target="../tags/tag9.xml"/></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10.bin"/><Relationship Id="rId5" Type="http://schemas.openxmlformats.org/officeDocument/2006/relationships/image" Target="../media/image1.emf"/><Relationship Id="rId1" Type="http://schemas.openxmlformats.org/officeDocument/2006/relationships/vmlDrawing" Target="../drawings/vmlDrawing10.vml"/><Relationship Id="rId2" Type="http://schemas.openxmlformats.org/officeDocument/2006/relationships/tags" Target="../tags/tag10.xml"/></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11.bin"/><Relationship Id="rId5" Type="http://schemas.openxmlformats.org/officeDocument/2006/relationships/image" Target="../media/image1.emf"/><Relationship Id="rId1" Type="http://schemas.openxmlformats.org/officeDocument/2006/relationships/vmlDrawing" Target="../drawings/vmlDrawing11.vml"/><Relationship Id="rId2" Type="http://schemas.openxmlformats.org/officeDocument/2006/relationships/tags" Target="../tags/tag11.xml"/></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4" Type="http://schemas.openxmlformats.org/officeDocument/2006/relationships/oleObject" Target="../embeddings/oleObject12.bin"/><Relationship Id="rId5" Type="http://schemas.openxmlformats.org/officeDocument/2006/relationships/image" Target="../media/image1.emf"/><Relationship Id="rId6" Type="http://schemas.openxmlformats.org/officeDocument/2006/relationships/image" Target="../media/image7.png"/><Relationship Id="rId7" Type="http://schemas.openxmlformats.org/officeDocument/2006/relationships/image" Target="../media/image3.emf"/><Relationship Id="rId1" Type="http://schemas.openxmlformats.org/officeDocument/2006/relationships/vmlDrawing" Target="../drawings/vmlDrawing12.vml"/><Relationship Id="rId2" Type="http://schemas.openxmlformats.org/officeDocument/2006/relationships/tags" Target="../tags/tag1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4.xml"/><Relationship Id="rId4" Type="http://schemas.openxmlformats.org/officeDocument/2006/relationships/oleObject" Target="../embeddings/oleObject14.bin"/><Relationship Id="rId5" Type="http://schemas.openxmlformats.org/officeDocument/2006/relationships/image" Target="../media/image1.emf"/><Relationship Id="rId6" Type="http://schemas.openxmlformats.org/officeDocument/2006/relationships/image" Target="../media/image4.png"/><Relationship Id="rId7" Type="http://schemas.openxmlformats.org/officeDocument/2006/relationships/image" Target="../media/image5.png"/><Relationship Id="rId8" Type="http://schemas.openxmlformats.org/officeDocument/2006/relationships/image" Target="../media/image3.emf"/><Relationship Id="rId1" Type="http://schemas.openxmlformats.org/officeDocument/2006/relationships/vmlDrawing" Target="../drawings/vmlDrawing14.vml"/><Relationship Id="rId2" Type="http://schemas.openxmlformats.org/officeDocument/2006/relationships/tags" Target="../tags/tag14.xml"/></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4.xml"/><Relationship Id="rId4" Type="http://schemas.openxmlformats.org/officeDocument/2006/relationships/oleObject" Target="../embeddings/oleObject15.bin"/><Relationship Id="rId5" Type="http://schemas.openxmlformats.org/officeDocument/2006/relationships/image" Target="../media/image6.emf"/><Relationship Id="rId1" Type="http://schemas.openxmlformats.org/officeDocument/2006/relationships/vmlDrawing" Target="../drawings/vmlDrawing15.vml"/><Relationship Id="rId2" Type="http://schemas.openxmlformats.org/officeDocument/2006/relationships/tags" Target="../tags/tag15.xml"/></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4.xml"/><Relationship Id="rId4" Type="http://schemas.openxmlformats.org/officeDocument/2006/relationships/oleObject" Target="../embeddings/oleObject16.bin"/><Relationship Id="rId5" Type="http://schemas.openxmlformats.org/officeDocument/2006/relationships/image" Target="../media/image1.emf"/><Relationship Id="rId1" Type="http://schemas.openxmlformats.org/officeDocument/2006/relationships/vmlDrawing" Target="../drawings/vmlDrawing16.vml"/><Relationship Id="rId2" Type="http://schemas.openxmlformats.org/officeDocument/2006/relationships/tags" Target="../tags/tag16.xml"/></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4.xml"/><Relationship Id="rId4" Type="http://schemas.openxmlformats.org/officeDocument/2006/relationships/oleObject" Target="../embeddings/oleObject17.bin"/><Relationship Id="rId5" Type="http://schemas.openxmlformats.org/officeDocument/2006/relationships/image" Target="../media/image1.emf"/><Relationship Id="rId1" Type="http://schemas.openxmlformats.org/officeDocument/2006/relationships/vmlDrawing" Target="../drawings/vmlDrawing17.vml"/><Relationship Id="rId2" Type="http://schemas.openxmlformats.org/officeDocument/2006/relationships/tags" Target="../tags/tag17.xml"/></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4.xml"/><Relationship Id="rId4" Type="http://schemas.openxmlformats.org/officeDocument/2006/relationships/oleObject" Target="../embeddings/oleObject18.bin"/><Relationship Id="rId5" Type="http://schemas.openxmlformats.org/officeDocument/2006/relationships/image" Target="../media/image1.emf"/><Relationship Id="rId6" Type="http://schemas.openxmlformats.org/officeDocument/2006/relationships/image" Target="../media/image7.png"/><Relationship Id="rId7" Type="http://schemas.openxmlformats.org/officeDocument/2006/relationships/image" Target="../media/image3.emf"/><Relationship Id="rId1" Type="http://schemas.openxmlformats.org/officeDocument/2006/relationships/vmlDrawing" Target="../drawings/vmlDrawing18.vml"/><Relationship Id="rId2" Type="http://schemas.openxmlformats.org/officeDocument/2006/relationships/tags" Target="../tags/tag18.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 Id="rId2" Type="http://schemas.openxmlformats.org/officeDocument/2006/relationships/image" Target="../media/image8.png"/></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D18879BB-F39C-4DC6-BAA4-D75F2BCB1E44}" type="datetimeFigureOut">
              <a:rPr lang="en-US" smtClean="0">
                <a:solidFill>
                  <a:prstClr val="black">
                    <a:tint val="75000"/>
                  </a:prstClr>
                </a:solidFill>
                <a:latin typeface="Calibri"/>
              </a:rPr>
              <a:pPr/>
              <a:t>7/23/18</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F184FCD3-C2BE-43CF-903B-BF41DBAD93EA}"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64004921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18879BB-F39C-4DC6-BAA4-D75F2BCB1E44}" type="datetimeFigureOut">
              <a:rPr lang="en-US" smtClean="0">
                <a:solidFill>
                  <a:prstClr val="black">
                    <a:tint val="75000"/>
                  </a:prstClr>
                </a:solidFill>
                <a:latin typeface="Calibri"/>
              </a:rPr>
              <a:pPr/>
              <a:t>7/23/18</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F184FCD3-C2BE-43CF-903B-BF41DBAD93EA}"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37839096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18879BB-F39C-4DC6-BAA4-D75F2BCB1E44}" type="datetimeFigureOut">
              <a:rPr lang="en-US" smtClean="0">
                <a:solidFill>
                  <a:prstClr val="black">
                    <a:tint val="75000"/>
                  </a:prstClr>
                </a:solidFill>
                <a:latin typeface="Calibri"/>
              </a:rPr>
              <a:pPr/>
              <a:t>7/23/18</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F184FCD3-C2BE-43CF-903B-BF41DBAD93EA}"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4668794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lvl1pPr>
              <a:defRPr sz="2000"/>
            </a:lvl1pPr>
            <a:lvl2pPr>
              <a:defRPr sz="20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8"/>
          <p:cNvSpPr>
            <a:spLocks noGrp="1" noChangeArrowheads="1"/>
          </p:cNvSpPr>
          <p:nvPr>
            <p:ph type="sldNum" sz="quarter" idx="10"/>
          </p:nvPr>
        </p:nvSpPr>
        <p:spPr>
          <a:ln/>
        </p:spPr>
        <p:txBody>
          <a:bodyPr/>
          <a:lstStyle>
            <a:lvl1pPr>
              <a:defRPr/>
            </a:lvl1pPr>
          </a:lstStyle>
          <a:p>
            <a:pPr>
              <a:defRPr/>
            </a:pPr>
            <a:fld id="{1558CDDA-7CFD-47DD-A480-C3E43D6A8CF6}" type="slidenum">
              <a:rPr lang="en-US">
                <a:solidFill>
                  <a:srgbClr val="000000"/>
                </a:solidFill>
              </a:rPr>
              <a:pPr>
                <a:defRPr/>
              </a:pPr>
              <a:t>‹#›</a:t>
            </a:fld>
            <a:endParaRPr lang="en-US" dirty="0">
              <a:solidFill>
                <a:srgbClr val="000000"/>
              </a:solidFill>
            </a:endParaRPr>
          </a:p>
        </p:txBody>
      </p:sp>
      <p:sp>
        <p:nvSpPr>
          <p:cNvPr id="5" name="Title Placeholder 5"/>
          <p:cNvSpPr>
            <a:spLocks noGrp="1"/>
          </p:cNvSpPr>
          <p:nvPr>
            <p:ph type="title"/>
          </p:nvPr>
        </p:nvSpPr>
        <p:spPr>
          <a:xfrm>
            <a:off x="80682" y="-1"/>
            <a:ext cx="8229600" cy="100853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p14="http://schemas.microsoft.com/office/powerpoint/2010/main" val="11493651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600200"/>
            <a:ext cx="4038600" cy="4525963"/>
          </a:xfrm>
          <a:prstGeom prst="rect">
            <a:avLst/>
          </a:prstGeom>
        </p:spPr>
        <p:txBody>
          <a:bodyPr/>
          <a:lstStyle>
            <a:lvl1pPr marL="228600" indent="-228600">
              <a:defRPr sz="2000"/>
            </a:lvl1pPr>
            <a:lvl2pPr marL="511175" indent="-228600">
              <a:buFont typeface="Wingdings" pitchFamily="2" charset="2"/>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8"/>
          <p:cNvSpPr>
            <a:spLocks noGrp="1" noChangeArrowheads="1"/>
          </p:cNvSpPr>
          <p:nvPr>
            <p:ph type="sldNum" sz="quarter" idx="10"/>
          </p:nvPr>
        </p:nvSpPr>
        <p:spPr>
          <a:ln/>
        </p:spPr>
        <p:txBody>
          <a:bodyPr/>
          <a:lstStyle>
            <a:lvl1pPr>
              <a:defRPr/>
            </a:lvl1pPr>
          </a:lstStyle>
          <a:p>
            <a:pPr>
              <a:defRPr/>
            </a:pPr>
            <a:fld id="{936DDBCF-8802-4B29-85D7-091E46AC652A}" type="slidenum">
              <a:rPr lang="en-US">
                <a:solidFill>
                  <a:srgbClr val="000000"/>
                </a:solidFill>
              </a:rPr>
              <a:pPr>
                <a:defRPr/>
              </a:pPr>
              <a:t>‹#›</a:t>
            </a:fld>
            <a:endParaRPr lang="en-US" dirty="0">
              <a:solidFill>
                <a:srgbClr val="000000"/>
              </a:solidFill>
            </a:endParaRPr>
          </a:p>
        </p:txBody>
      </p:sp>
      <p:sp>
        <p:nvSpPr>
          <p:cNvPr id="6" name="Content Placeholder 2"/>
          <p:cNvSpPr>
            <a:spLocks noGrp="1"/>
          </p:cNvSpPr>
          <p:nvPr>
            <p:ph sz="half" idx="11"/>
          </p:nvPr>
        </p:nvSpPr>
        <p:spPr>
          <a:xfrm>
            <a:off x="4684058" y="1618129"/>
            <a:ext cx="4038600" cy="4525963"/>
          </a:xfrm>
          <a:prstGeom prst="rect">
            <a:avLst/>
          </a:prstGeom>
        </p:spPr>
        <p:txBody>
          <a:bodyPr/>
          <a:lstStyle>
            <a:lvl1pPr marL="228600" indent="-228600">
              <a:defRPr sz="2000"/>
            </a:lvl1pPr>
            <a:lvl2pPr marL="511175" indent="-228600">
              <a:buFont typeface="Wingdings" pitchFamily="2" charset="2"/>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5"/>
          <p:cNvSpPr>
            <a:spLocks noGrp="1"/>
          </p:cNvSpPr>
          <p:nvPr>
            <p:ph type="title"/>
          </p:nvPr>
        </p:nvSpPr>
        <p:spPr>
          <a:xfrm>
            <a:off x="80682" y="-1"/>
            <a:ext cx="8229600" cy="100853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p14="http://schemas.microsoft.com/office/powerpoint/2010/main" val="289461578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8"/>
          <p:cNvSpPr>
            <a:spLocks noGrp="1" noChangeArrowheads="1"/>
          </p:cNvSpPr>
          <p:nvPr>
            <p:ph type="sldNum" sz="quarter" idx="10"/>
          </p:nvPr>
        </p:nvSpPr>
        <p:spPr>
          <a:ln/>
        </p:spPr>
        <p:txBody>
          <a:bodyPr/>
          <a:lstStyle>
            <a:lvl1pPr>
              <a:defRPr/>
            </a:lvl1pPr>
          </a:lstStyle>
          <a:p>
            <a:pPr>
              <a:defRPr/>
            </a:pPr>
            <a:fld id="{AAC37394-698D-4361-AB41-39B862FD8C36}" type="slidenum">
              <a:rPr lang="en-US">
                <a:solidFill>
                  <a:srgbClr val="000000"/>
                </a:solidFill>
              </a:rPr>
              <a:pPr>
                <a:defRPr/>
              </a:pPr>
              <a:t>‹#›</a:t>
            </a:fld>
            <a:endParaRPr lang="en-US" dirty="0">
              <a:solidFill>
                <a:srgbClr val="000000"/>
              </a:solidFill>
            </a:endParaRPr>
          </a:p>
        </p:txBody>
      </p:sp>
      <p:sp>
        <p:nvSpPr>
          <p:cNvPr id="8" name="Content Placeholder 2"/>
          <p:cNvSpPr>
            <a:spLocks noGrp="1"/>
          </p:cNvSpPr>
          <p:nvPr>
            <p:ph sz="half" idx="11" hasCustomPrompt="1"/>
          </p:nvPr>
        </p:nvSpPr>
        <p:spPr>
          <a:xfrm>
            <a:off x="457200" y="2178424"/>
            <a:ext cx="4038600" cy="3947739"/>
          </a:xfrm>
          <a:prstGeom prst="rect">
            <a:avLst/>
          </a:prstGeom>
        </p:spPr>
        <p:txBody>
          <a:bodyPr/>
          <a:lstStyle>
            <a:lvl1pPr marL="228600" indent="-228600">
              <a:defRPr sz="2000"/>
            </a:lvl1pPr>
            <a:lvl2pPr marL="511175" indent="-228600">
              <a:buFont typeface="Arial" pitchFamily="34" charset="0"/>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2"/>
          <p:cNvSpPr>
            <a:spLocks noGrp="1"/>
          </p:cNvSpPr>
          <p:nvPr>
            <p:ph sz="half" idx="12" hasCustomPrompt="1"/>
          </p:nvPr>
        </p:nvSpPr>
        <p:spPr>
          <a:xfrm>
            <a:off x="4657165" y="2196354"/>
            <a:ext cx="4038600" cy="3947739"/>
          </a:xfrm>
          <a:prstGeom prst="rect">
            <a:avLst/>
          </a:prstGeom>
        </p:spPr>
        <p:txBody>
          <a:bodyPr/>
          <a:lstStyle>
            <a:lvl1pPr marL="228600" indent="-228600">
              <a:defRPr sz="2000"/>
            </a:lvl1pPr>
            <a:lvl2pPr marL="511175" indent="-228600">
              <a:buFont typeface="Arial" pitchFamily="34" charset="0"/>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itle Placeholder 5"/>
          <p:cNvSpPr>
            <a:spLocks noGrp="1"/>
          </p:cNvSpPr>
          <p:nvPr>
            <p:ph type="title"/>
          </p:nvPr>
        </p:nvSpPr>
        <p:spPr>
          <a:xfrm>
            <a:off x="80682" y="-1"/>
            <a:ext cx="8229600" cy="100853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p14="http://schemas.microsoft.com/office/powerpoint/2010/main" val="3044249995"/>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3" name="Rectangle 8"/>
          <p:cNvSpPr>
            <a:spLocks noGrp="1" noChangeArrowheads="1"/>
          </p:cNvSpPr>
          <p:nvPr>
            <p:ph type="sldNum" sz="quarter" idx="10"/>
          </p:nvPr>
        </p:nvSpPr>
        <p:spPr>
          <a:ln/>
        </p:spPr>
        <p:txBody>
          <a:bodyPr/>
          <a:lstStyle>
            <a:lvl1pPr>
              <a:defRPr/>
            </a:lvl1pPr>
          </a:lstStyle>
          <a:p>
            <a:pPr>
              <a:defRPr/>
            </a:pPr>
            <a:fld id="{D0944D99-665D-43B5-A36B-8D0B4985ACF8}" type="slidenum">
              <a:rPr lang="en-US">
                <a:solidFill>
                  <a:srgbClr val="000000"/>
                </a:solidFill>
              </a:rPr>
              <a:pPr>
                <a:defRPr/>
              </a:pPr>
              <a:t>‹#›</a:t>
            </a:fld>
            <a:endParaRPr lang="en-US" dirty="0">
              <a:solidFill>
                <a:srgbClr val="000000"/>
              </a:solidFill>
            </a:endParaRPr>
          </a:p>
        </p:txBody>
      </p:sp>
      <p:sp>
        <p:nvSpPr>
          <p:cNvPr id="4" name="Title Placeholder 5"/>
          <p:cNvSpPr>
            <a:spLocks noGrp="1"/>
          </p:cNvSpPr>
          <p:nvPr>
            <p:ph type="title"/>
          </p:nvPr>
        </p:nvSpPr>
        <p:spPr>
          <a:xfrm>
            <a:off x="80682" y="-1"/>
            <a:ext cx="8229600" cy="100853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p14="http://schemas.microsoft.com/office/powerpoint/2010/main" val="1179017077"/>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2" name="Rectangle 8"/>
          <p:cNvSpPr>
            <a:spLocks noGrp="1" noChangeArrowheads="1"/>
          </p:cNvSpPr>
          <p:nvPr>
            <p:ph type="sldNum" sz="quarter" idx="10"/>
          </p:nvPr>
        </p:nvSpPr>
        <p:spPr>
          <a:ln/>
        </p:spPr>
        <p:txBody>
          <a:bodyPr/>
          <a:lstStyle>
            <a:lvl1pPr>
              <a:defRPr/>
            </a:lvl1pPr>
          </a:lstStyle>
          <a:p>
            <a:pPr>
              <a:defRPr/>
            </a:pPr>
            <a:fld id="{89A31C09-2C0A-4119-A886-5F6E33B0AFC9}" type="slidenum">
              <a:rPr lang="en-US">
                <a:solidFill>
                  <a:srgbClr val="000000"/>
                </a:solidFill>
              </a:rPr>
              <a:pPr>
                <a:defRPr/>
              </a:pPr>
              <a:t>‹#›</a:t>
            </a:fld>
            <a:endParaRPr lang="en-US" dirty="0">
              <a:solidFill>
                <a:srgbClr val="000000"/>
              </a:solidFill>
            </a:endParaRPr>
          </a:p>
        </p:txBody>
      </p:sp>
      <p:sp>
        <p:nvSpPr>
          <p:cNvPr id="3" name="Title Placeholder 5"/>
          <p:cNvSpPr>
            <a:spLocks noGrp="1"/>
          </p:cNvSpPr>
          <p:nvPr>
            <p:ph type="title"/>
          </p:nvPr>
        </p:nvSpPr>
        <p:spPr>
          <a:xfrm>
            <a:off x="80682" y="-1"/>
            <a:ext cx="8229600" cy="100853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p14="http://schemas.microsoft.com/office/powerpoint/2010/main" val="116868045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8"/>
          <p:cNvSpPr>
            <a:spLocks noGrp="1" noChangeArrowheads="1"/>
          </p:cNvSpPr>
          <p:nvPr>
            <p:ph type="sldNum" sz="quarter" idx="10"/>
          </p:nvPr>
        </p:nvSpPr>
        <p:spPr>
          <a:ln/>
        </p:spPr>
        <p:txBody>
          <a:bodyPr/>
          <a:lstStyle>
            <a:lvl1pPr>
              <a:defRPr/>
            </a:lvl1pPr>
          </a:lstStyle>
          <a:p>
            <a:pPr>
              <a:defRPr/>
            </a:pPr>
            <a:fld id="{35563F22-7F08-4DCB-B9B3-4A1468AF7CF3}"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38834319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1498600"/>
            <a:ext cx="8229600" cy="4627563"/>
          </a:xfrm>
          <a:prstGeom prst="rect">
            <a:avLst/>
          </a:prstGeom>
        </p:spPr>
        <p:txBody>
          <a:bodyPr/>
          <a:lstStyle>
            <a:lvl1pPr>
              <a:defRPr sz="2000"/>
            </a:lvl1pPr>
            <a:lvl2pPr>
              <a:defRPr sz="20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Rectangle 8"/>
          <p:cNvSpPr>
            <a:spLocks noGrp="1" noChangeArrowheads="1"/>
          </p:cNvSpPr>
          <p:nvPr>
            <p:ph type="sldNum" sz="quarter" idx="10"/>
          </p:nvPr>
        </p:nvSpPr>
        <p:spPr>
          <a:ln/>
        </p:spPr>
        <p:txBody>
          <a:bodyPr/>
          <a:lstStyle>
            <a:lvl1pPr>
              <a:defRPr/>
            </a:lvl1pPr>
          </a:lstStyle>
          <a:p>
            <a:pPr>
              <a:defRPr/>
            </a:pPr>
            <a:fld id="{31F46A52-DF43-48CC-852C-556A345D48DE}" type="slidenum">
              <a:rPr lang="en-US">
                <a:solidFill>
                  <a:srgbClr val="000000"/>
                </a:solidFill>
              </a:rPr>
              <a:pPr>
                <a:defRPr/>
              </a:pPr>
              <a:t>‹#›</a:t>
            </a:fld>
            <a:endParaRPr lang="en-US" dirty="0">
              <a:solidFill>
                <a:srgbClr val="000000"/>
              </a:solidFill>
            </a:endParaRPr>
          </a:p>
        </p:txBody>
      </p:sp>
      <p:sp>
        <p:nvSpPr>
          <p:cNvPr id="4" name="Title Placeholder 5"/>
          <p:cNvSpPr>
            <a:spLocks noGrp="1"/>
          </p:cNvSpPr>
          <p:nvPr>
            <p:ph type="title" idx="11"/>
          </p:nvPr>
        </p:nvSpPr>
        <p:spPr>
          <a:xfrm>
            <a:off x="80682" y="-1"/>
            <a:ext cx="8229600" cy="100853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p14="http://schemas.microsoft.com/office/powerpoint/2010/main" val="209737667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3" name="Chart Placeholder 2"/>
          <p:cNvSpPr>
            <a:spLocks noGrp="1"/>
          </p:cNvSpPr>
          <p:nvPr>
            <p:ph type="chart" idx="1"/>
          </p:nvPr>
        </p:nvSpPr>
        <p:spPr>
          <a:xfrm>
            <a:off x="457200" y="1600200"/>
            <a:ext cx="8229600" cy="4525963"/>
          </a:xfrm>
          <a:prstGeom prst="rect">
            <a:avLst/>
          </a:prstGeom>
        </p:spPr>
        <p:txBody>
          <a:bodyPr/>
          <a:lstStyle/>
          <a:p>
            <a:pPr lvl="0"/>
            <a:r>
              <a:rPr lang="en-US" noProof="0" dirty="0" smtClean="0"/>
              <a:t>Click icon to add chart</a:t>
            </a:r>
          </a:p>
        </p:txBody>
      </p:sp>
      <p:sp>
        <p:nvSpPr>
          <p:cNvPr id="4" name="Rectangle 8"/>
          <p:cNvSpPr>
            <a:spLocks noGrp="1" noChangeArrowheads="1"/>
          </p:cNvSpPr>
          <p:nvPr>
            <p:ph type="sldNum" sz="quarter" idx="10"/>
          </p:nvPr>
        </p:nvSpPr>
        <p:spPr>
          <a:ln/>
        </p:spPr>
        <p:txBody>
          <a:bodyPr/>
          <a:lstStyle>
            <a:lvl1pPr>
              <a:defRPr/>
            </a:lvl1pPr>
          </a:lstStyle>
          <a:p>
            <a:pPr>
              <a:defRPr/>
            </a:pPr>
            <a:fld id="{26A19C0E-70A1-499A-8A93-7D3FE396D8B5}" type="slidenum">
              <a:rPr lang="en-US">
                <a:solidFill>
                  <a:srgbClr val="000000"/>
                </a:solidFill>
              </a:rPr>
              <a:pPr>
                <a:defRPr/>
              </a:pPr>
              <a:t>‹#›</a:t>
            </a:fld>
            <a:endParaRPr lang="en-US" dirty="0">
              <a:solidFill>
                <a:srgbClr val="000000"/>
              </a:solidFill>
            </a:endParaRPr>
          </a:p>
        </p:txBody>
      </p:sp>
      <p:sp>
        <p:nvSpPr>
          <p:cNvPr id="5" name="Title Placeholder 5"/>
          <p:cNvSpPr>
            <a:spLocks noGrp="1"/>
          </p:cNvSpPr>
          <p:nvPr>
            <p:ph type="title"/>
          </p:nvPr>
        </p:nvSpPr>
        <p:spPr>
          <a:xfrm>
            <a:off x="80682" y="-1"/>
            <a:ext cx="8229600" cy="100853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p14="http://schemas.microsoft.com/office/powerpoint/2010/main" val="324656470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D18879BB-F39C-4DC6-BAA4-D75F2BCB1E44}" type="datetimeFigureOut">
              <a:rPr lang="en-US" smtClean="0">
                <a:solidFill>
                  <a:prstClr val="black">
                    <a:tint val="75000"/>
                  </a:prstClr>
                </a:solidFill>
                <a:latin typeface="Calibri"/>
              </a:rPr>
              <a:pPr/>
              <a:t>7/23/18</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F184FCD3-C2BE-43CF-903B-BF41DBAD93EA}"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88488367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5" y="1589"/>
          <a:ext cx="1465" cy="1587"/>
        </p:xfrm>
        <a:graphic>
          <a:graphicData uri="http://schemas.openxmlformats.org/presentationml/2006/ole">
            <mc:AlternateContent xmlns:mc="http://schemas.openxmlformats.org/markup-compatibility/2006">
              <mc:Choice xmlns:v="urn:schemas-microsoft-com:vml" Requires="v">
                <p:oleObj spid="_x0000_s6715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5"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2" descr="layout_titlebg.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1"/>
            <a:ext cx="9144000" cy="5863945"/>
          </a:xfrm>
          <a:prstGeom prst="rect">
            <a:avLst/>
          </a:prstGeom>
        </p:spPr>
      </p:pic>
      <p:pic>
        <p:nvPicPr>
          <p:cNvPr id="4" name="Picture 3" descr="logo_unitaidtaglinecolor.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258762" y="5682369"/>
            <a:ext cx="2363372" cy="817359"/>
          </a:xfrm>
          <a:prstGeom prst="rect">
            <a:avLst/>
          </a:prstGeom>
        </p:spPr>
      </p:pic>
      <p:sp>
        <p:nvSpPr>
          <p:cNvPr id="5" name="Title 4"/>
          <p:cNvSpPr>
            <a:spLocks noGrp="1"/>
          </p:cNvSpPr>
          <p:nvPr>
            <p:ph type="title"/>
          </p:nvPr>
        </p:nvSpPr>
        <p:spPr>
          <a:xfrm>
            <a:off x="516444" y="2096787"/>
            <a:ext cx="8112578" cy="707886"/>
          </a:xfrm>
        </p:spPr>
        <p:txBody>
          <a:bodyPr wrap="square" anchor="b" anchorCtr="0">
            <a:spAutoFit/>
          </a:bodyPr>
          <a:lstStyle>
            <a:lvl1pPr algn="ctr">
              <a:defRPr sz="4000" b="1">
                <a:solidFill>
                  <a:srgbClr val="FFFFFF"/>
                </a:solidFill>
              </a:defRPr>
            </a:lvl1pPr>
          </a:lstStyle>
          <a:p>
            <a:r>
              <a:rPr lang="en-US" dirty="0" smtClean="0"/>
              <a:t>Click to edit Master title style</a:t>
            </a:r>
            <a:endParaRPr lang="en-US" dirty="0"/>
          </a:p>
        </p:txBody>
      </p:sp>
      <p:sp>
        <p:nvSpPr>
          <p:cNvPr id="8" name="Text Placeholder 7"/>
          <p:cNvSpPr>
            <a:spLocks noGrp="1"/>
          </p:cNvSpPr>
          <p:nvPr>
            <p:ph type="body" sz="quarter" idx="10"/>
          </p:nvPr>
        </p:nvSpPr>
        <p:spPr>
          <a:xfrm>
            <a:off x="516444" y="2818489"/>
            <a:ext cx="8112578" cy="492443"/>
          </a:xfrm>
        </p:spPr>
        <p:txBody>
          <a:bodyPr wrap="square">
            <a:spAutoFit/>
          </a:bodyPr>
          <a:lstStyle>
            <a:lvl1pPr algn="ctr">
              <a:defRPr sz="3200" b="0">
                <a:solidFill>
                  <a:srgbClr val="FFFFFF"/>
                </a:solidFill>
              </a:defRPr>
            </a:lvl1pPr>
          </a:lstStyle>
          <a:p>
            <a:pPr lvl="0"/>
            <a:r>
              <a:rPr lang="en-US" dirty="0" smtClean="0"/>
              <a:t>Click to edit Master text styles</a:t>
            </a:r>
            <a:endParaRPr lang="en-US" dirty="0"/>
          </a:p>
        </p:txBody>
      </p:sp>
      <p:sp>
        <p:nvSpPr>
          <p:cNvPr id="10" name="Text Placeholder 9"/>
          <p:cNvSpPr>
            <a:spLocks noGrp="1"/>
          </p:cNvSpPr>
          <p:nvPr>
            <p:ph type="body" sz="quarter" idx="11"/>
          </p:nvPr>
        </p:nvSpPr>
        <p:spPr>
          <a:xfrm>
            <a:off x="516444" y="6145885"/>
            <a:ext cx="4028342" cy="184666"/>
          </a:xfrm>
        </p:spPr>
        <p:txBody>
          <a:bodyPr anchor="ctr" anchorCtr="0">
            <a:spAutoFit/>
          </a:bodyPr>
          <a:lstStyle>
            <a:lvl1pPr>
              <a:defRPr sz="1200" b="0">
                <a:solidFill>
                  <a:schemeClr val="bg2"/>
                </a:solidFill>
              </a:defRPr>
            </a:lvl1pPr>
          </a:lstStyle>
          <a:p>
            <a:pPr lvl="0"/>
            <a:r>
              <a:rPr lang="en-US" dirty="0" smtClean="0"/>
              <a:t>Click to edit Master text styles</a:t>
            </a:r>
            <a:endParaRPr lang="en-US" dirty="0"/>
          </a:p>
        </p:txBody>
      </p:sp>
      <p:pic>
        <p:nvPicPr>
          <p:cNvPr id="13" name="Picture 12" descr="Bandeau Bas bleu.emf"/>
          <p:cNvPicPr>
            <a:picLocks/>
          </p:cNvPicPr>
          <p:nvPr userDrawn="1"/>
        </p:nvPicPr>
        <p:blipFill>
          <a:blip r:embed="rId8" cstate="print"/>
          <a:srcRect l="775" r="712" b="74057"/>
          <a:stretch>
            <a:fillRect/>
          </a:stretch>
        </p:blipFill>
        <p:spPr>
          <a:xfrm>
            <a:off x="0" y="6742003"/>
            <a:ext cx="9144000" cy="123949"/>
          </a:xfrm>
          <a:prstGeom prst="rect">
            <a:avLst/>
          </a:prstGeom>
        </p:spPr>
      </p:pic>
    </p:spTree>
    <p:extLst>
      <p:ext uri="{BB962C8B-B14F-4D97-AF65-F5344CB8AC3E}">
        <p14:creationId xmlns:p14="http://schemas.microsoft.com/office/powerpoint/2010/main" val="93259674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ext with bulle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465" y="1589"/>
          <a:ext cx="1465" cy="1587"/>
        </p:xfrm>
        <a:graphic>
          <a:graphicData uri="http://schemas.openxmlformats.org/presentationml/2006/ole">
            <mc:AlternateContent xmlns:mc="http://schemas.openxmlformats.org/markup-compatibility/2006">
              <mc:Choice xmlns:v="urn:schemas-microsoft-com:vml" Requires="v">
                <p:oleObj spid="_x0000_s69201"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5"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7"/>
          <p:cNvSpPr>
            <a:spLocks noGrp="1"/>
          </p:cNvSpPr>
          <p:nvPr>
            <p:ph type="body" sz="quarter" idx="13"/>
          </p:nvPr>
        </p:nvSpPr>
        <p:spPr>
          <a:xfrm>
            <a:off x="422031" y="1508400"/>
            <a:ext cx="8301046" cy="4590000"/>
          </a:xfrm>
          <a:prstGeom prst="rect">
            <a:avLst/>
          </a:prstGeom>
        </p:spPr>
        <p:txBody>
          <a:bodyPr lIns="0" tIns="0" rIns="0" bIns="0"/>
          <a:lstStyle>
            <a:lvl1pPr marL="172800" indent="-172800">
              <a:spcBef>
                <a:spcPts val="384"/>
              </a:spcBef>
              <a:buClr>
                <a:schemeClr val="tx2"/>
              </a:buClr>
              <a:buFont typeface="Arial" pitchFamily="34" charset="0"/>
              <a:buChar char="•"/>
              <a:tabLst/>
              <a:defRPr b="0"/>
            </a:lvl1pPr>
            <a:lvl2pPr marL="630000" indent="-230400">
              <a:spcBef>
                <a:spcPts val="384"/>
              </a:spcBef>
              <a:buClr>
                <a:schemeClr val="tx2"/>
              </a:buClr>
              <a:buFont typeface="Arial" pitchFamily="34" charset="0"/>
              <a:buChar char="–"/>
              <a:defRPr/>
            </a:lvl2pPr>
            <a:lvl3pPr marL="1076400" indent="-230400">
              <a:spcBef>
                <a:spcPts val="384"/>
              </a:spcBef>
              <a:buClr>
                <a:schemeClr val="tx2"/>
              </a:buClr>
              <a:defRPr/>
            </a:lvl3pPr>
            <a:lvl4pPr marL="1544400" indent="-230400">
              <a:spcBef>
                <a:spcPts val="384"/>
              </a:spcBef>
              <a:buClr>
                <a:schemeClr val="tx2"/>
              </a:buClr>
              <a:defRPr/>
            </a:lvl4pPr>
            <a:lvl5pPr marL="2059200" indent="-230400">
              <a:spcBef>
                <a:spcPts val="384"/>
              </a:spcBef>
              <a:buClr>
                <a:schemeClr val="tx2"/>
              </a:buCl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63200990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465" y="1589"/>
          <a:ext cx="1465" cy="1587"/>
        </p:xfrm>
        <a:graphic>
          <a:graphicData uri="http://schemas.openxmlformats.org/presentationml/2006/ole">
            <mc:AlternateContent xmlns:mc="http://schemas.openxmlformats.org/markup-compatibility/2006">
              <mc:Choice xmlns:v="urn:schemas-microsoft-com:vml" Requires="v">
                <p:oleObj spid="_x0000_s70225"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5"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510912261"/>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Agenda (manual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465" y="1589"/>
          <a:ext cx="1465" cy="1587"/>
        </p:xfrm>
        <a:graphic>
          <a:graphicData uri="http://schemas.openxmlformats.org/presentationml/2006/ole">
            <mc:AlternateContent xmlns:mc="http://schemas.openxmlformats.org/markup-compatibility/2006">
              <mc:Choice xmlns:v="urn:schemas-microsoft-com:vml" Requires="v">
                <p:oleObj spid="_x0000_s71249"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5"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3"/>
          </p:nvPr>
        </p:nvSpPr>
        <p:spPr>
          <a:xfrm>
            <a:off x="1108" y="2303798"/>
            <a:ext cx="9142892" cy="2250404"/>
          </a:xfrm>
        </p:spPr>
        <p:txBody>
          <a:bodyPr wrap="square" lIns="468000" tIns="230400" rIns="90000" bIns="230400" anchor="ctr" anchorCtr="0">
            <a:spAutoFit/>
          </a:bodyPr>
          <a:lstStyle>
            <a:lvl1pPr>
              <a:buClrTx/>
              <a:defRPr sz="2000">
                <a:solidFill>
                  <a:schemeClr val="tx2"/>
                </a:solidFill>
              </a:defRPr>
            </a:lvl1pPr>
            <a:lvl2pPr>
              <a:buClrTx/>
              <a:defRPr sz="2000">
                <a:solidFill>
                  <a:schemeClr val="tx2"/>
                </a:solidFill>
              </a:defRPr>
            </a:lvl2pPr>
            <a:lvl3pPr>
              <a:buClrTx/>
              <a:defRPr sz="2000">
                <a:solidFill>
                  <a:schemeClr val="tx2"/>
                </a:solidFill>
              </a:defRPr>
            </a:lvl3pPr>
            <a:lvl4pPr>
              <a:buClrTx/>
              <a:defRPr sz="2000">
                <a:solidFill>
                  <a:schemeClr val="tx2"/>
                </a:solidFill>
              </a:defRPr>
            </a:lvl4pPr>
            <a:lvl5pPr>
              <a:buClrTx/>
              <a:defRPr sz="20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5" hidden="1"/>
          <p:cNvSpPr txBox="1">
            <a:spLocks/>
          </p:cNvSpPr>
          <p:nvPr userDrawn="1"/>
        </p:nvSpPr>
        <p:spPr>
          <a:xfrm>
            <a:off x="8687631" y="6826800"/>
            <a:ext cx="176123" cy="133200"/>
          </a:xfrm>
          <a:prstGeom prst="flowChartProcess">
            <a:avLst/>
          </a:prstGeom>
        </p:spPr>
        <p:txBody>
          <a:bodyPr vert="horz" wrap="none" lIns="0" tIns="0" rIns="0" bIns="0" rtlCol="0" anchor="t" anchorCtr="0"/>
          <a:lstStyle/>
          <a:p>
            <a:pPr algn="r">
              <a:defRPr/>
            </a:pPr>
            <a:r>
              <a:rPr lang="en-US" sz="900" smtClean="0">
                <a:solidFill>
                  <a:srgbClr val="000000"/>
                </a:solidFill>
                <a:latin typeface="Calibri"/>
              </a:rPr>
              <a:t>‹#›</a:t>
            </a:r>
          </a:p>
          <a:p>
            <a:pPr algn="r">
              <a:defRPr/>
            </a:pPr>
            <a:endParaRPr lang="en-US" sz="900" dirty="0">
              <a:solidFill>
                <a:srgbClr val="000000"/>
              </a:solidFill>
              <a:latin typeface="Calibri"/>
            </a:endParaRPr>
          </a:p>
        </p:txBody>
      </p:sp>
    </p:spTree>
    <p:extLst>
      <p:ext uri="{BB962C8B-B14F-4D97-AF65-F5344CB8AC3E}">
        <p14:creationId xmlns:p14="http://schemas.microsoft.com/office/powerpoint/2010/main" val="833214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Head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5" y="1589"/>
          <a:ext cx="1465" cy="1587"/>
        </p:xfrm>
        <a:graphic>
          <a:graphicData uri="http://schemas.openxmlformats.org/presentationml/2006/ole">
            <mc:AlternateContent xmlns:mc="http://schemas.openxmlformats.org/markup-compatibility/2006">
              <mc:Choice xmlns:v="urn:schemas-microsoft-com:vml" Requires="v">
                <p:oleObj spid="_x0000_s7227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5"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8" descr="layout_sectionbg.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144000" cy="2474382"/>
          </a:xfrm>
          <a:prstGeom prst="rect">
            <a:avLst/>
          </a:prstGeom>
        </p:spPr>
      </p:pic>
      <p:sp>
        <p:nvSpPr>
          <p:cNvPr id="5" name="Title 4"/>
          <p:cNvSpPr>
            <a:spLocks noGrp="1"/>
          </p:cNvSpPr>
          <p:nvPr>
            <p:ph type="title"/>
          </p:nvPr>
        </p:nvSpPr>
        <p:spPr>
          <a:xfrm>
            <a:off x="516444" y="244134"/>
            <a:ext cx="8112578" cy="707886"/>
          </a:xfrm>
        </p:spPr>
        <p:txBody>
          <a:bodyPr wrap="square" anchor="b" anchorCtr="0">
            <a:spAutoFit/>
          </a:bodyPr>
          <a:lstStyle>
            <a:lvl1pPr algn="l">
              <a:defRPr sz="4000" b="1">
                <a:solidFill>
                  <a:srgbClr val="FFFFFF"/>
                </a:solidFill>
              </a:defRPr>
            </a:lvl1pPr>
          </a:lstStyle>
          <a:p>
            <a:r>
              <a:rPr lang="en-US" dirty="0" smtClean="0"/>
              <a:t>Click to edit Master title style</a:t>
            </a:r>
            <a:endParaRPr lang="en-US" dirty="0"/>
          </a:p>
        </p:txBody>
      </p:sp>
      <p:sp>
        <p:nvSpPr>
          <p:cNvPr id="8" name="Text Placeholder 7"/>
          <p:cNvSpPr>
            <a:spLocks noGrp="1"/>
          </p:cNvSpPr>
          <p:nvPr>
            <p:ph type="body" sz="quarter" idx="10"/>
          </p:nvPr>
        </p:nvSpPr>
        <p:spPr>
          <a:xfrm>
            <a:off x="516444" y="4281529"/>
            <a:ext cx="8112578" cy="492443"/>
          </a:xfrm>
        </p:spPr>
        <p:txBody>
          <a:bodyPr wrap="square" anchor="ctr" anchorCtr="0">
            <a:spAutoFit/>
          </a:bodyPr>
          <a:lstStyle>
            <a:lvl1pPr algn="l">
              <a:defRPr sz="3200" b="0">
                <a:solidFill>
                  <a:schemeClr val="tx1"/>
                </a:solidFill>
              </a:defRPr>
            </a:lvl1pPr>
          </a:lstStyle>
          <a:p>
            <a:pPr lvl="0"/>
            <a:r>
              <a:rPr lang="en-US" dirty="0" smtClean="0"/>
              <a:t>Click to edit Master text styles</a:t>
            </a:r>
            <a:endParaRPr lang="en-US" dirty="0"/>
          </a:p>
        </p:txBody>
      </p:sp>
      <p:pic>
        <p:nvPicPr>
          <p:cNvPr id="13" name="Picture 12" descr="Bandeau Bas bleu.emf"/>
          <p:cNvPicPr>
            <a:picLocks/>
          </p:cNvPicPr>
          <p:nvPr userDrawn="1"/>
        </p:nvPicPr>
        <p:blipFill>
          <a:blip r:embed="rId7" cstate="print"/>
          <a:srcRect l="775" r="712" b="74057"/>
          <a:stretch>
            <a:fillRect/>
          </a:stretch>
        </p:blipFill>
        <p:spPr>
          <a:xfrm>
            <a:off x="0" y="6742003"/>
            <a:ext cx="9144000" cy="123949"/>
          </a:xfrm>
          <a:prstGeom prst="rect">
            <a:avLst/>
          </a:prstGeom>
        </p:spPr>
      </p:pic>
    </p:spTree>
    <p:extLst>
      <p:ext uri="{BB962C8B-B14F-4D97-AF65-F5344CB8AC3E}">
        <p14:creationId xmlns:p14="http://schemas.microsoft.com/office/powerpoint/2010/main" val="3049784109"/>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5" y="1589"/>
          <a:ext cx="1465" cy="1587"/>
        </p:xfrm>
        <a:graphic>
          <a:graphicData uri="http://schemas.openxmlformats.org/presentationml/2006/ole">
            <mc:AlternateContent xmlns:mc="http://schemas.openxmlformats.org/markup-compatibility/2006">
              <mc:Choice xmlns:v="urn:schemas-microsoft-com:vml" Requires="v">
                <p:oleObj spid="_x0000_s74157"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5"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2" descr="layout_titlebg.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1"/>
            <a:ext cx="9144000" cy="5863945"/>
          </a:xfrm>
          <a:prstGeom prst="rect">
            <a:avLst/>
          </a:prstGeom>
        </p:spPr>
      </p:pic>
      <p:pic>
        <p:nvPicPr>
          <p:cNvPr id="4" name="Picture 3" descr="logo_unitaidtaglinecolor.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258762" y="5682369"/>
            <a:ext cx="2363372" cy="817359"/>
          </a:xfrm>
          <a:prstGeom prst="rect">
            <a:avLst/>
          </a:prstGeom>
        </p:spPr>
      </p:pic>
      <p:sp>
        <p:nvSpPr>
          <p:cNvPr id="5" name="Title 4"/>
          <p:cNvSpPr>
            <a:spLocks noGrp="1"/>
          </p:cNvSpPr>
          <p:nvPr>
            <p:ph type="title"/>
          </p:nvPr>
        </p:nvSpPr>
        <p:spPr>
          <a:xfrm>
            <a:off x="516444" y="2096787"/>
            <a:ext cx="8112578" cy="707886"/>
          </a:xfrm>
        </p:spPr>
        <p:txBody>
          <a:bodyPr wrap="square" anchor="b" anchorCtr="0">
            <a:spAutoFit/>
          </a:bodyPr>
          <a:lstStyle>
            <a:lvl1pPr algn="ctr">
              <a:defRPr sz="4000" b="1">
                <a:solidFill>
                  <a:srgbClr val="FFFFFF"/>
                </a:solidFill>
              </a:defRPr>
            </a:lvl1pPr>
          </a:lstStyle>
          <a:p>
            <a:r>
              <a:rPr lang="en-US" dirty="0" smtClean="0"/>
              <a:t>Click to edit Master title style</a:t>
            </a:r>
            <a:endParaRPr lang="en-US" dirty="0"/>
          </a:p>
        </p:txBody>
      </p:sp>
      <p:sp>
        <p:nvSpPr>
          <p:cNvPr id="8" name="Text Placeholder 7"/>
          <p:cNvSpPr>
            <a:spLocks noGrp="1"/>
          </p:cNvSpPr>
          <p:nvPr>
            <p:ph type="body" sz="quarter" idx="10"/>
          </p:nvPr>
        </p:nvSpPr>
        <p:spPr>
          <a:xfrm>
            <a:off x="516444" y="2818489"/>
            <a:ext cx="8112578" cy="492443"/>
          </a:xfrm>
        </p:spPr>
        <p:txBody>
          <a:bodyPr wrap="square">
            <a:spAutoFit/>
          </a:bodyPr>
          <a:lstStyle>
            <a:lvl1pPr algn="ctr">
              <a:defRPr sz="3200" b="0">
                <a:solidFill>
                  <a:srgbClr val="FFFFFF"/>
                </a:solidFill>
              </a:defRPr>
            </a:lvl1pPr>
          </a:lstStyle>
          <a:p>
            <a:pPr lvl="0"/>
            <a:r>
              <a:rPr lang="en-US" dirty="0" smtClean="0"/>
              <a:t>Click to edit Master text styles</a:t>
            </a:r>
            <a:endParaRPr lang="en-US" dirty="0"/>
          </a:p>
        </p:txBody>
      </p:sp>
      <p:sp>
        <p:nvSpPr>
          <p:cNvPr id="10" name="Text Placeholder 9"/>
          <p:cNvSpPr>
            <a:spLocks noGrp="1"/>
          </p:cNvSpPr>
          <p:nvPr>
            <p:ph type="body" sz="quarter" idx="11"/>
          </p:nvPr>
        </p:nvSpPr>
        <p:spPr>
          <a:xfrm>
            <a:off x="516444" y="6145885"/>
            <a:ext cx="4028342" cy="184666"/>
          </a:xfrm>
        </p:spPr>
        <p:txBody>
          <a:bodyPr anchor="ctr" anchorCtr="0">
            <a:spAutoFit/>
          </a:bodyPr>
          <a:lstStyle>
            <a:lvl1pPr>
              <a:defRPr sz="1200" b="0">
                <a:solidFill>
                  <a:schemeClr val="bg2"/>
                </a:solidFill>
              </a:defRPr>
            </a:lvl1pPr>
          </a:lstStyle>
          <a:p>
            <a:pPr lvl="0"/>
            <a:r>
              <a:rPr lang="en-US" dirty="0" smtClean="0"/>
              <a:t>Click to edit Master text styles</a:t>
            </a:r>
            <a:endParaRPr lang="en-US" dirty="0"/>
          </a:p>
        </p:txBody>
      </p:sp>
      <p:pic>
        <p:nvPicPr>
          <p:cNvPr id="13" name="Picture 12" descr="Bandeau Bas bleu.emf"/>
          <p:cNvPicPr>
            <a:picLocks/>
          </p:cNvPicPr>
          <p:nvPr userDrawn="1"/>
        </p:nvPicPr>
        <p:blipFill>
          <a:blip r:embed="rId8" cstate="print"/>
          <a:srcRect l="775" r="712" b="74057"/>
          <a:stretch>
            <a:fillRect/>
          </a:stretch>
        </p:blipFill>
        <p:spPr>
          <a:xfrm>
            <a:off x="0" y="6742003"/>
            <a:ext cx="9144000" cy="123949"/>
          </a:xfrm>
          <a:prstGeom prst="rect">
            <a:avLst/>
          </a:prstGeom>
        </p:spPr>
      </p:pic>
    </p:spTree>
    <p:extLst>
      <p:ext uri="{BB962C8B-B14F-4D97-AF65-F5344CB8AC3E}">
        <p14:creationId xmlns:p14="http://schemas.microsoft.com/office/powerpoint/2010/main" val="3324175937"/>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Text with bulle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465" y="1589"/>
          <a:ext cx="1465" cy="1587"/>
        </p:xfrm>
        <a:graphic>
          <a:graphicData uri="http://schemas.openxmlformats.org/presentationml/2006/ole">
            <mc:AlternateContent xmlns:mc="http://schemas.openxmlformats.org/markup-compatibility/2006">
              <mc:Choice xmlns:v="urn:schemas-microsoft-com:vml" Requires="v">
                <p:oleObj spid="_x0000_s76205"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5"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7"/>
          <p:cNvSpPr>
            <a:spLocks noGrp="1"/>
          </p:cNvSpPr>
          <p:nvPr>
            <p:ph type="body" sz="quarter" idx="13"/>
          </p:nvPr>
        </p:nvSpPr>
        <p:spPr>
          <a:xfrm>
            <a:off x="422031" y="1508400"/>
            <a:ext cx="8301046" cy="4590000"/>
          </a:xfrm>
          <a:prstGeom prst="rect">
            <a:avLst/>
          </a:prstGeom>
        </p:spPr>
        <p:txBody>
          <a:bodyPr lIns="0" tIns="0" rIns="0" bIns="0"/>
          <a:lstStyle>
            <a:lvl1pPr marL="172800" indent="-172800">
              <a:spcBef>
                <a:spcPts val="384"/>
              </a:spcBef>
              <a:buClr>
                <a:schemeClr val="tx2"/>
              </a:buClr>
              <a:buFont typeface="Arial" pitchFamily="34" charset="0"/>
              <a:buChar char="•"/>
              <a:tabLst/>
              <a:defRPr b="0"/>
            </a:lvl1pPr>
            <a:lvl2pPr marL="630000" indent="-230400">
              <a:spcBef>
                <a:spcPts val="384"/>
              </a:spcBef>
              <a:buClr>
                <a:schemeClr val="tx2"/>
              </a:buClr>
              <a:buFont typeface="Arial" pitchFamily="34" charset="0"/>
              <a:buChar char="–"/>
              <a:defRPr/>
            </a:lvl2pPr>
            <a:lvl3pPr marL="1076400" indent="-230400">
              <a:spcBef>
                <a:spcPts val="384"/>
              </a:spcBef>
              <a:buClr>
                <a:schemeClr val="tx2"/>
              </a:buClr>
              <a:defRPr/>
            </a:lvl3pPr>
            <a:lvl4pPr marL="1544400" indent="-230400">
              <a:spcBef>
                <a:spcPts val="384"/>
              </a:spcBef>
              <a:buClr>
                <a:schemeClr val="tx2"/>
              </a:buClr>
              <a:defRPr/>
            </a:lvl4pPr>
            <a:lvl5pPr marL="2059200" indent="-230400">
              <a:spcBef>
                <a:spcPts val="384"/>
              </a:spcBef>
              <a:buClr>
                <a:schemeClr val="tx2"/>
              </a:buCl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1882393264"/>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465" y="1589"/>
          <a:ext cx="1465" cy="1587"/>
        </p:xfrm>
        <a:graphic>
          <a:graphicData uri="http://schemas.openxmlformats.org/presentationml/2006/ole">
            <mc:AlternateContent xmlns:mc="http://schemas.openxmlformats.org/markup-compatibility/2006">
              <mc:Choice xmlns:v="urn:schemas-microsoft-com:vml" Requires="v">
                <p:oleObj spid="_x0000_s77229"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5"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230372212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Agenda (manual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465" y="1589"/>
          <a:ext cx="1465" cy="1587"/>
        </p:xfrm>
        <a:graphic>
          <a:graphicData uri="http://schemas.openxmlformats.org/presentationml/2006/ole">
            <mc:AlternateContent xmlns:mc="http://schemas.openxmlformats.org/markup-compatibility/2006">
              <mc:Choice xmlns:v="urn:schemas-microsoft-com:vml" Requires="v">
                <p:oleObj spid="_x0000_s78253"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5"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3"/>
          </p:nvPr>
        </p:nvSpPr>
        <p:spPr>
          <a:xfrm>
            <a:off x="1108" y="2303798"/>
            <a:ext cx="9142892" cy="2250404"/>
          </a:xfrm>
        </p:spPr>
        <p:txBody>
          <a:bodyPr wrap="square" lIns="468000" tIns="230400" rIns="90000" bIns="230400" anchor="ctr" anchorCtr="0">
            <a:spAutoFit/>
          </a:bodyPr>
          <a:lstStyle>
            <a:lvl1pPr>
              <a:buClrTx/>
              <a:defRPr sz="2000">
                <a:solidFill>
                  <a:schemeClr val="tx2"/>
                </a:solidFill>
              </a:defRPr>
            </a:lvl1pPr>
            <a:lvl2pPr>
              <a:buClrTx/>
              <a:defRPr sz="2000">
                <a:solidFill>
                  <a:schemeClr val="tx2"/>
                </a:solidFill>
              </a:defRPr>
            </a:lvl2pPr>
            <a:lvl3pPr>
              <a:buClrTx/>
              <a:defRPr sz="2000">
                <a:solidFill>
                  <a:schemeClr val="tx2"/>
                </a:solidFill>
              </a:defRPr>
            </a:lvl3pPr>
            <a:lvl4pPr>
              <a:buClrTx/>
              <a:defRPr sz="2000">
                <a:solidFill>
                  <a:schemeClr val="tx2"/>
                </a:solidFill>
              </a:defRPr>
            </a:lvl4pPr>
            <a:lvl5pPr>
              <a:buClrTx/>
              <a:defRPr sz="20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5" hidden="1"/>
          <p:cNvSpPr txBox="1">
            <a:spLocks/>
          </p:cNvSpPr>
          <p:nvPr userDrawn="1"/>
        </p:nvSpPr>
        <p:spPr>
          <a:xfrm>
            <a:off x="8687631" y="6826800"/>
            <a:ext cx="176123" cy="133200"/>
          </a:xfrm>
          <a:prstGeom prst="flowChartProcess">
            <a:avLst/>
          </a:prstGeom>
        </p:spPr>
        <p:txBody>
          <a:bodyPr vert="horz" wrap="none" lIns="0" tIns="0" rIns="0" bIns="0" rtlCol="0" anchor="t" anchorCtr="0"/>
          <a:lstStyle/>
          <a:p>
            <a:pPr algn="r">
              <a:defRPr/>
            </a:pPr>
            <a:r>
              <a:rPr lang="en-US" sz="900" smtClean="0">
                <a:solidFill>
                  <a:srgbClr val="000000"/>
                </a:solidFill>
                <a:latin typeface="Calibri"/>
              </a:rPr>
              <a:t>‹#›</a:t>
            </a:r>
          </a:p>
          <a:p>
            <a:pPr algn="r">
              <a:defRPr/>
            </a:pPr>
            <a:endParaRPr lang="en-US" sz="900" dirty="0">
              <a:solidFill>
                <a:srgbClr val="000000"/>
              </a:solidFill>
              <a:latin typeface="Calibri"/>
            </a:endParaRPr>
          </a:p>
        </p:txBody>
      </p:sp>
    </p:spTree>
    <p:extLst>
      <p:ext uri="{BB962C8B-B14F-4D97-AF65-F5344CB8AC3E}">
        <p14:creationId xmlns:p14="http://schemas.microsoft.com/office/powerpoint/2010/main" val="14472373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Head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5" y="1589"/>
          <a:ext cx="1465" cy="1587"/>
        </p:xfrm>
        <a:graphic>
          <a:graphicData uri="http://schemas.openxmlformats.org/presentationml/2006/ole">
            <mc:AlternateContent xmlns:mc="http://schemas.openxmlformats.org/markup-compatibility/2006">
              <mc:Choice xmlns:v="urn:schemas-microsoft-com:vml" Requires="v">
                <p:oleObj spid="_x0000_s79277"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5"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8" descr="layout_sectionbg.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144000" cy="2474382"/>
          </a:xfrm>
          <a:prstGeom prst="rect">
            <a:avLst/>
          </a:prstGeom>
        </p:spPr>
      </p:pic>
      <p:sp>
        <p:nvSpPr>
          <p:cNvPr id="5" name="Title 4"/>
          <p:cNvSpPr>
            <a:spLocks noGrp="1"/>
          </p:cNvSpPr>
          <p:nvPr>
            <p:ph type="title"/>
          </p:nvPr>
        </p:nvSpPr>
        <p:spPr>
          <a:xfrm>
            <a:off x="516444" y="244134"/>
            <a:ext cx="8112578" cy="707886"/>
          </a:xfrm>
        </p:spPr>
        <p:txBody>
          <a:bodyPr wrap="square" anchor="b" anchorCtr="0">
            <a:spAutoFit/>
          </a:bodyPr>
          <a:lstStyle>
            <a:lvl1pPr algn="l">
              <a:defRPr sz="4000" b="1">
                <a:solidFill>
                  <a:srgbClr val="FFFFFF"/>
                </a:solidFill>
              </a:defRPr>
            </a:lvl1pPr>
          </a:lstStyle>
          <a:p>
            <a:r>
              <a:rPr lang="en-US" dirty="0" smtClean="0"/>
              <a:t>Click to edit Master title style</a:t>
            </a:r>
            <a:endParaRPr lang="en-US" dirty="0"/>
          </a:p>
        </p:txBody>
      </p:sp>
      <p:sp>
        <p:nvSpPr>
          <p:cNvPr id="8" name="Text Placeholder 7"/>
          <p:cNvSpPr>
            <a:spLocks noGrp="1"/>
          </p:cNvSpPr>
          <p:nvPr>
            <p:ph type="body" sz="quarter" idx="10"/>
          </p:nvPr>
        </p:nvSpPr>
        <p:spPr>
          <a:xfrm>
            <a:off x="516444" y="4281529"/>
            <a:ext cx="8112578" cy="492443"/>
          </a:xfrm>
        </p:spPr>
        <p:txBody>
          <a:bodyPr wrap="square" anchor="ctr" anchorCtr="0">
            <a:spAutoFit/>
          </a:bodyPr>
          <a:lstStyle>
            <a:lvl1pPr algn="l">
              <a:defRPr sz="3200" b="0">
                <a:solidFill>
                  <a:schemeClr val="tx1"/>
                </a:solidFill>
              </a:defRPr>
            </a:lvl1pPr>
          </a:lstStyle>
          <a:p>
            <a:pPr lvl="0"/>
            <a:r>
              <a:rPr lang="en-US" dirty="0" smtClean="0"/>
              <a:t>Click to edit Master text styles</a:t>
            </a:r>
            <a:endParaRPr lang="en-US" dirty="0"/>
          </a:p>
        </p:txBody>
      </p:sp>
      <p:pic>
        <p:nvPicPr>
          <p:cNvPr id="13" name="Picture 12" descr="Bandeau Bas bleu.emf"/>
          <p:cNvPicPr>
            <a:picLocks/>
          </p:cNvPicPr>
          <p:nvPr userDrawn="1"/>
        </p:nvPicPr>
        <p:blipFill>
          <a:blip r:embed="rId7" cstate="print"/>
          <a:srcRect l="775" r="712" b="74057"/>
          <a:stretch>
            <a:fillRect/>
          </a:stretch>
        </p:blipFill>
        <p:spPr>
          <a:xfrm>
            <a:off x="0" y="6742003"/>
            <a:ext cx="9144000" cy="123949"/>
          </a:xfrm>
          <a:prstGeom prst="rect">
            <a:avLst/>
          </a:prstGeom>
        </p:spPr>
      </p:pic>
    </p:spTree>
    <p:extLst>
      <p:ext uri="{BB962C8B-B14F-4D97-AF65-F5344CB8AC3E}">
        <p14:creationId xmlns:p14="http://schemas.microsoft.com/office/powerpoint/2010/main" val="19773409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D18879BB-F39C-4DC6-BAA4-D75F2BCB1E44}" type="datetimeFigureOut">
              <a:rPr lang="en-US" smtClean="0">
                <a:solidFill>
                  <a:prstClr val="black">
                    <a:tint val="75000"/>
                  </a:prstClr>
                </a:solidFill>
                <a:latin typeface="Calibri"/>
              </a:rPr>
              <a:pPr/>
              <a:t>7/23/18</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F184FCD3-C2BE-43CF-903B-BF41DBAD93EA}"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81719702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5" y="1589"/>
          <a:ext cx="1465" cy="1587"/>
        </p:xfrm>
        <a:graphic>
          <a:graphicData uri="http://schemas.openxmlformats.org/presentationml/2006/ole">
            <mc:AlternateContent xmlns:mc="http://schemas.openxmlformats.org/markup-compatibility/2006">
              <mc:Choice xmlns:v="urn:schemas-microsoft-com:vml" Requires="v">
                <p:oleObj spid="_x0000_s81289"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5"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3" name="Picture 2" descr="layout_titlebg.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1"/>
            <a:ext cx="9144000" cy="5863945"/>
          </a:xfrm>
          <a:prstGeom prst="rect">
            <a:avLst/>
          </a:prstGeom>
        </p:spPr>
      </p:pic>
      <p:pic>
        <p:nvPicPr>
          <p:cNvPr id="4" name="Picture 3" descr="logo_unitaidtaglinecolor.png"/>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6258762" y="5682369"/>
            <a:ext cx="2363372" cy="817359"/>
          </a:xfrm>
          <a:prstGeom prst="rect">
            <a:avLst/>
          </a:prstGeom>
        </p:spPr>
      </p:pic>
      <p:sp>
        <p:nvSpPr>
          <p:cNvPr id="5" name="Title 4"/>
          <p:cNvSpPr>
            <a:spLocks noGrp="1"/>
          </p:cNvSpPr>
          <p:nvPr>
            <p:ph type="title"/>
          </p:nvPr>
        </p:nvSpPr>
        <p:spPr>
          <a:xfrm>
            <a:off x="516444" y="2096787"/>
            <a:ext cx="8112578" cy="707886"/>
          </a:xfrm>
        </p:spPr>
        <p:txBody>
          <a:bodyPr wrap="square" anchor="b" anchorCtr="0">
            <a:spAutoFit/>
          </a:bodyPr>
          <a:lstStyle>
            <a:lvl1pPr algn="ctr">
              <a:defRPr sz="4000" b="1">
                <a:solidFill>
                  <a:srgbClr val="FFFFFF"/>
                </a:solidFill>
              </a:defRPr>
            </a:lvl1pPr>
          </a:lstStyle>
          <a:p>
            <a:r>
              <a:rPr lang="en-US" dirty="0" smtClean="0"/>
              <a:t>Click to edit Master title style</a:t>
            </a:r>
            <a:endParaRPr lang="en-US" dirty="0"/>
          </a:p>
        </p:txBody>
      </p:sp>
      <p:sp>
        <p:nvSpPr>
          <p:cNvPr id="8" name="Text Placeholder 7"/>
          <p:cNvSpPr>
            <a:spLocks noGrp="1"/>
          </p:cNvSpPr>
          <p:nvPr>
            <p:ph type="body" sz="quarter" idx="10"/>
          </p:nvPr>
        </p:nvSpPr>
        <p:spPr>
          <a:xfrm>
            <a:off x="516444" y="2818489"/>
            <a:ext cx="8112578" cy="492443"/>
          </a:xfrm>
        </p:spPr>
        <p:txBody>
          <a:bodyPr wrap="square">
            <a:spAutoFit/>
          </a:bodyPr>
          <a:lstStyle>
            <a:lvl1pPr algn="ctr">
              <a:defRPr sz="3200" b="0">
                <a:solidFill>
                  <a:srgbClr val="FFFFFF"/>
                </a:solidFill>
              </a:defRPr>
            </a:lvl1pPr>
          </a:lstStyle>
          <a:p>
            <a:pPr lvl="0"/>
            <a:r>
              <a:rPr lang="en-US" dirty="0" smtClean="0"/>
              <a:t>Click to edit Master text styles</a:t>
            </a:r>
            <a:endParaRPr lang="en-US" dirty="0"/>
          </a:p>
        </p:txBody>
      </p:sp>
      <p:sp>
        <p:nvSpPr>
          <p:cNvPr id="10" name="Text Placeholder 9"/>
          <p:cNvSpPr>
            <a:spLocks noGrp="1"/>
          </p:cNvSpPr>
          <p:nvPr>
            <p:ph type="body" sz="quarter" idx="11"/>
          </p:nvPr>
        </p:nvSpPr>
        <p:spPr>
          <a:xfrm>
            <a:off x="516444" y="6145885"/>
            <a:ext cx="4028342" cy="184666"/>
          </a:xfrm>
        </p:spPr>
        <p:txBody>
          <a:bodyPr anchor="ctr" anchorCtr="0">
            <a:spAutoFit/>
          </a:bodyPr>
          <a:lstStyle>
            <a:lvl1pPr>
              <a:defRPr sz="1200" b="0">
                <a:solidFill>
                  <a:schemeClr val="bg2"/>
                </a:solidFill>
              </a:defRPr>
            </a:lvl1pPr>
          </a:lstStyle>
          <a:p>
            <a:pPr lvl="0"/>
            <a:r>
              <a:rPr lang="en-US" dirty="0" smtClean="0"/>
              <a:t>Click to edit Master text styles</a:t>
            </a:r>
            <a:endParaRPr lang="en-US" dirty="0"/>
          </a:p>
        </p:txBody>
      </p:sp>
      <p:pic>
        <p:nvPicPr>
          <p:cNvPr id="13" name="Picture 12" descr="Bandeau Bas bleu.emf"/>
          <p:cNvPicPr>
            <a:picLocks/>
          </p:cNvPicPr>
          <p:nvPr userDrawn="1"/>
        </p:nvPicPr>
        <p:blipFill>
          <a:blip r:embed="rId8" cstate="print"/>
          <a:srcRect l="775" r="712" b="74057"/>
          <a:stretch>
            <a:fillRect/>
          </a:stretch>
        </p:blipFill>
        <p:spPr>
          <a:xfrm>
            <a:off x="0" y="6742003"/>
            <a:ext cx="9144000" cy="123949"/>
          </a:xfrm>
          <a:prstGeom prst="rect">
            <a:avLst/>
          </a:prstGeom>
        </p:spPr>
      </p:pic>
    </p:spTree>
    <p:extLst>
      <p:ext uri="{BB962C8B-B14F-4D97-AF65-F5344CB8AC3E}">
        <p14:creationId xmlns:p14="http://schemas.microsoft.com/office/powerpoint/2010/main" val="92701582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Text with bullets">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465" y="1589"/>
          <a:ext cx="1465" cy="1587"/>
        </p:xfrm>
        <a:graphic>
          <a:graphicData uri="http://schemas.openxmlformats.org/presentationml/2006/ole">
            <mc:AlternateContent xmlns:mc="http://schemas.openxmlformats.org/markup-compatibility/2006">
              <mc:Choice xmlns:v="urn:schemas-microsoft-com:vml" Requires="v">
                <p:oleObj spid="_x0000_s83337" name="think-cell Slide" r:id="rId4" imgW="270" imgH="270" progId="TCLayout.ActiveDocument.1">
                  <p:embed/>
                </p:oleObj>
              </mc:Choice>
              <mc:Fallback>
                <p:oleObj name="think-cell Slide" r:id="rId4" imgW="270" imgH="27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5"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3" name="Text Placeholder 7"/>
          <p:cNvSpPr>
            <a:spLocks noGrp="1"/>
          </p:cNvSpPr>
          <p:nvPr>
            <p:ph type="body" sz="quarter" idx="13"/>
          </p:nvPr>
        </p:nvSpPr>
        <p:spPr>
          <a:xfrm>
            <a:off x="422031" y="1508400"/>
            <a:ext cx="8301046" cy="4590000"/>
          </a:xfrm>
          <a:prstGeom prst="rect">
            <a:avLst/>
          </a:prstGeom>
        </p:spPr>
        <p:txBody>
          <a:bodyPr lIns="0" tIns="0" rIns="0" bIns="0"/>
          <a:lstStyle>
            <a:lvl1pPr marL="172800" indent="-172800">
              <a:spcBef>
                <a:spcPts val="384"/>
              </a:spcBef>
              <a:buClr>
                <a:schemeClr val="tx2"/>
              </a:buClr>
              <a:buFont typeface="Arial" pitchFamily="34" charset="0"/>
              <a:buChar char="•"/>
              <a:tabLst/>
              <a:defRPr b="0"/>
            </a:lvl1pPr>
            <a:lvl2pPr marL="630000" indent="-230400">
              <a:spcBef>
                <a:spcPts val="384"/>
              </a:spcBef>
              <a:buClr>
                <a:schemeClr val="tx2"/>
              </a:buClr>
              <a:buFont typeface="Arial" pitchFamily="34" charset="0"/>
              <a:buChar char="–"/>
              <a:defRPr/>
            </a:lvl2pPr>
            <a:lvl3pPr marL="1076400" indent="-230400">
              <a:spcBef>
                <a:spcPts val="384"/>
              </a:spcBef>
              <a:buClr>
                <a:schemeClr val="tx2"/>
              </a:buClr>
              <a:defRPr/>
            </a:lvl3pPr>
            <a:lvl4pPr marL="1544400" indent="-230400">
              <a:spcBef>
                <a:spcPts val="384"/>
              </a:spcBef>
              <a:buClr>
                <a:schemeClr val="tx2"/>
              </a:buClr>
              <a:defRPr/>
            </a:lvl4pPr>
            <a:lvl5pPr marL="2059200" indent="-230400">
              <a:spcBef>
                <a:spcPts val="384"/>
              </a:spcBef>
              <a:buClr>
                <a:schemeClr val="tx2"/>
              </a:buClr>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Tree>
    <p:extLst>
      <p:ext uri="{BB962C8B-B14F-4D97-AF65-F5344CB8AC3E}">
        <p14:creationId xmlns:p14="http://schemas.microsoft.com/office/powerpoint/2010/main" val="5044117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465" y="1589"/>
          <a:ext cx="1465" cy="1587"/>
        </p:xfrm>
        <a:graphic>
          <a:graphicData uri="http://schemas.openxmlformats.org/presentationml/2006/ole">
            <mc:AlternateContent xmlns:mc="http://schemas.openxmlformats.org/markup-compatibility/2006">
              <mc:Choice xmlns:v="urn:schemas-microsoft-com:vml" Requires="v">
                <p:oleObj spid="_x0000_s84361"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5"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81496640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Agenda (manual only)">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465" y="1589"/>
          <a:ext cx="1465" cy="1587"/>
        </p:xfrm>
        <a:graphic>
          <a:graphicData uri="http://schemas.openxmlformats.org/presentationml/2006/ole">
            <mc:AlternateContent xmlns:mc="http://schemas.openxmlformats.org/markup-compatibility/2006">
              <mc:Choice xmlns:v="urn:schemas-microsoft-com:vml" Requires="v">
                <p:oleObj spid="_x0000_s85385"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5"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smtClean="0"/>
              <a:t>Click to edit Master title style</a:t>
            </a:r>
            <a:endParaRPr lang="en-US"/>
          </a:p>
        </p:txBody>
      </p:sp>
      <p:sp>
        <p:nvSpPr>
          <p:cNvPr id="8" name="Text Placeholder 7"/>
          <p:cNvSpPr>
            <a:spLocks noGrp="1"/>
          </p:cNvSpPr>
          <p:nvPr>
            <p:ph type="body" sz="quarter" idx="13"/>
          </p:nvPr>
        </p:nvSpPr>
        <p:spPr>
          <a:xfrm>
            <a:off x="1108" y="2303798"/>
            <a:ext cx="9142892" cy="2250404"/>
          </a:xfrm>
        </p:spPr>
        <p:txBody>
          <a:bodyPr wrap="square" lIns="468000" tIns="230400" rIns="90000" bIns="230400" anchor="ctr" anchorCtr="0">
            <a:spAutoFit/>
          </a:bodyPr>
          <a:lstStyle>
            <a:lvl1pPr>
              <a:buClrTx/>
              <a:defRPr sz="2000">
                <a:solidFill>
                  <a:schemeClr val="tx2"/>
                </a:solidFill>
              </a:defRPr>
            </a:lvl1pPr>
            <a:lvl2pPr>
              <a:buClrTx/>
              <a:defRPr sz="2000">
                <a:solidFill>
                  <a:schemeClr val="tx2"/>
                </a:solidFill>
              </a:defRPr>
            </a:lvl2pPr>
            <a:lvl3pPr>
              <a:buClrTx/>
              <a:defRPr sz="2000">
                <a:solidFill>
                  <a:schemeClr val="tx2"/>
                </a:solidFill>
              </a:defRPr>
            </a:lvl3pPr>
            <a:lvl4pPr>
              <a:buClrTx/>
              <a:defRPr sz="2000">
                <a:solidFill>
                  <a:schemeClr val="tx2"/>
                </a:solidFill>
              </a:defRPr>
            </a:lvl4pPr>
            <a:lvl5pPr>
              <a:buClrTx/>
              <a:defRPr sz="2000">
                <a:solidFill>
                  <a:schemeClr val="tx2"/>
                </a:solidFill>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Slide Number Placeholder 5" hidden="1"/>
          <p:cNvSpPr txBox="1">
            <a:spLocks/>
          </p:cNvSpPr>
          <p:nvPr userDrawn="1"/>
        </p:nvSpPr>
        <p:spPr>
          <a:xfrm>
            <a:off x="8687631" y="6826800"/>
            <a:ext cx="176123" cy="133200"/>
          </a:xfrm>
          <a:prstGeom prst="flowChartProcess">
            <a:avLst/>
          </a:prstGeom>
        </p:spPr>
        <p:txBody>
          <a:bodyPr vert="horz" wrap="none" lIns="0" tIns="0" rIns="0" bIns="0" rtlCol="0" anchor="t" anchorCtr="0"/>
          <a:lstStyle/>
          <a:p>
            <a:pPr algn="r">
              <a:defRPr/>
            </a:pPr>
            <a:r>
              <a:rPr lang="en-US" sz="900" smtClean="0">
                <a:solidFill>
                  <a:srgbClr val="000000"/>
                </a:solidFill>
                <a:latin typeface="Calibri"/>
              </a:rPr>
              <a:t>‹#›</a:t>
            </a:r>
          </a:p>
          <a:p>
            <a:pPr algn="r">
              <a:defRPr/>
            </a:pPr>
            <a:endParaRPr lang="en-US" sz="900" dirty="0">
              <a:solidFill>
                <a:srgbClr val="000000"/>
              </a:solidFill>
              <a:latin typeface="Calibri"/>
            </a:endParaRPr>
          </a:p>
        </p:txBody>
      </p:sp>
    </p:spTree>
    <p:extLst>
      <p:ext uri="{BB962C8B-B14F-4D97-AF65-F5344CB8AC3E}">
        <p14:creationId xmlns:p14="http://schemas.microsoft.com/office/powerpoint/2010/main" val="19788412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Header">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p:custDataLst>
              <p:tags r:id="rId2"/>
            </p:custDataLst>
          </p:nvPr>
        </p:nvGraphicFramePr>
        <p:xfrm>
          <a:off x="1465" y="1589"/>
          <a:ext cx="1465" cy="1587"/>
        </p:xfrm>
        <a:graphic>
          <a:graphicData uri="http://schemas.openxmlformats.org/presentationml/2006/ole">
            <mc:AlternateContent xmlns:mc="http://schemas.openxmlformats.org/markup-compatibility/2006">
              <mc:Choice xmlns:v="urn:schemas-microsoft-com:vml" Requires="v">
                <p:oleObj spid="_x0000_s86409"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5"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9" name="Picture 8" descr="layout_sectionbg.png"/>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0" y="0"/>
            <a:ext cx="9144000" cy="2474382"/>
          </a:xfrm>
          <a:prstGeom prst="rect">
            <a:avLst/>
          </a:prstGeom>
        </p:spPr>
      </p:pic>
      <p:sp>
        <p:nvSpPr>
          <p:cNvPr id="5" name="Title 4"/>
          <p:cNvSpPr>
            <a:spLocks noGrp="1"/>
          </p:cNvSpPr>
          <p:nvPr>
            <p:ph type="title"/>
          </p:nvPr>
        </p:nvSpPr>
        <p:spPr>
          <a:xfrm>
            <a:off x="516444" y="244134"/>
            <a:ext cx="8112578" cy="707886"/>
          </a:xfrm>
        </p:spPr>
        <p:txBody>
          <a:bodyPr wrap="square" anchor="b" anchorCtr="0">
            <a:spAutoFit/>
          </a:bodyPr>
          <a:lstStyle>
            <a:lvl1pPr algn="l">
              <a:defRPr sz="4000" b="1">
                <a:solidFill>
                  <a:srgbClr val="FFFFFF"/>
                </a:solidFill>
              </a:defRPr>
            </a:lvl1pPr>
          </a:lstStyle>
          <a:p>
            <a:r>
              <a:rPr lang="en-US" dirty="0" smtClean="0"/>
              <a:t>Click to edit Master title style</a:t>
            </a:r>
            <a:endParaRPr lang="en-US" dirty="0"/>
          </a:p>
        </p:txBody>
      </p:sp>
      <p:sp>
        <p:nvSpPr>
          <p:cNvPr id="8" name="Text Placeholder 7"/>
          <p:cNvSpPr>
            <a:spLocks noGrp="1"/>
          </p:cNvSpPr>
          <p:nvPr>
            <p:ph type="body" sz="quarter" idx="10"/>
          </p:nvPr>
        </p:nvSpPr>
        <p:spPr>
          <a:xfrm>
            <a:off x="516444" y="4281529"/>
            <a:ext cx="8112578" cy="492443"/>
          </a:xfrm>
        </p:spPr>
        <p:txBody>
          <a:bodyPr wrap="square" anchor="ctr" anchorCtr="0">
            <a:spAutoFit/>
          </a:bodyPr>
          <a:lstStyle>
            <a:lvl1pPr algn="l">
              <a:defRPr sz="3200" b="0">
                <a:solidFill>
                  <a:schemeClr val="tx1"/>
                </a:solidFill>
              </a:defRPr>
            </a:lvl1pPr>
          </a:lstStyle>
          <a:p>
            <a:pPr lvl="0"/>
            <a:r>
              <a:rPr lang="en-US" dirty="0" smtClean="0"/>
              <a:t>Click to edit Master text styles</a:t>
            </a:r>
            <a:endParaRPr lang="en-US" dirty="0"/>
          </a:p>
        </p:txBody>
      </p:sp>
      <p:pic>
        <p:nvPicPr>
          <p:cNvPr id="13" name="Picture 12" descr="Bandeau Bas bleu.emf"/>
          <p:cNvPicPr>
            <a:picLocks/>
          </p:cNvPicPr>
          <p:nvPr userDrawn="1"/>
        </p:nvPicPr>
        <p:blipFill>
          <a:blip r:embed="rId7" cstate="print"/>
          <a:srcRect l="775" r="712" b="74057"/>
          <a:stretch>
            <a:fillRect/>
          </a:stretch>
        </p:blipFill>
        <p:spPr>
          <a:xfrm>
            <a:off x="0" y="6742003"/>
            <a:ext cx="9144000" cy="123949"/>
          </a:xfrm>
          <a:prstGeom prst="rect">
            <a:avLst/>
          </a:prstGeom>
        </p:spPr>
      </p:pic>
    </p:spTree>
    <p:extLst>
      <p:ext uri="{BB962C8B-B14F-4D97-AF65-F5344CB8AC3E}">
        <p14:creationId xmlns:p14="http://schemas.microsoft.com/office/powerpoint/2010/main" val="173409185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6"/>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18138" y="1700213"/>
            <a:ext cx="3114675" cy="1860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170" name="Rectangle 2"/>
          <p:cNvSpPr>
            <a:spLocks noGrp="1" noChangeArrowheads="1"/>
          </p:cNvSpPr>
          <p:nvPr>
            <p:ph type="ctrTitle" sz="quarter"/>
          </p:nvPr>
        </p:nvSpPr>
        <p:spPr bwMode="auto">
          <a:xfrm>
            <a:off x="708025" y="3625850"/>
            <a:ext cx="7772400" cy="1282700"/>
          </a:xfrm>
        </p:spPr>
        <p:txBody>
          <a:bodyPr anchor="b"/>
          <a:lstStyle>
            <a:lvl1pPr algn="r">
              <a:defRPr sz="3600">
                <a:solidFill>
                  <a:schemeClr val="tx2"/>
                </a:solidFill>
              </a:defRPr>
            </a:lvl1pPr>
          </a:lstStyle>
          <a:p>
            <a:r>
              <a:rPr lang="en-US" smtClean="0"/>
              <a:t>Click to edit Master title style</a:t>
            </a:r>
            <a:endParaRPr lang="en-US"/>
          </a:p>
        </p:txBody>
      </p:sp>
      <p:sp>
        <p:nvSpPr>
          <p:cNvPr id="7171" name="Rectangle 3"/>
          <p:cNvSpPr>
            <a:spLocks noGrp="1" noChangeArrowheads="1"/>
          </p:cNvSpPr>
          <p:nvPr>
            <p:ph type="subTitle" sz="quarter" idx="1"/>
          </p:nvPr>
        </p:nvSpPr>
        <p:spPr>
          <a:xfrm>
            <a:off x="2089150" y="4975225"/>
            <a:ext cx="6400800" cy="592138"/>
          </a:xfrm>
          <a:ln/>
        </p:spPr>
        <p:txBody>
          <a:bodyPr lIns="91440" tIns="45720" rIns="91440" bIns="45720"/>
          <a:lstStyle>
            <a:lvl1pPr marL="0" indent="0" algn="r">
              <a:buFont typeface="Verdana" pitchFamily="34" charset="0"/>
              <a:buNone/>
              <a:defRPr sz="2400"/>
            </a:lvl1pPr>
          </a:lstStyle>
          <a:p>
            <a:r>
              <a:rPr lang="en-US" smtClean="0"/>
              <a:t>Click to edit Master subtitle style</a:t>
            </a:r>
            <a:endParaRPr lang="en-US"/>
          </a:p>
        </p:txBody>
      </p:sp>
    </p:spTree>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anose="020F0502020204030204"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Calibri" panose="020F0502020204030204" pitchFamily="34" charset="0"/>
              </a:defRPr>
            </a:lvl1pPr>
            <a:lvl2pPr>
              <a:defRPr>
                <a:latin typeface="Calibri" panose="020F0502020204030204" pitchFamily="34" charset="0"/>
              </a:defRPr>
            </a:lvl2pPr>
            <a:lvl3pPr>
              <a:defRPr>
                <a:latin typeface="Calibri" panose="020F0502020204030204" pitchFamily="34" charset="0"/>
              </a:defRPr>
            </a:lvl3pPr>
            <a:lvl4pPr>
              <a:defRPr>
                <a:latin typeface="Calibri" panose="020F0502020204030204" pitchFamily="34" charset="0"/>
              </a:defRPr>
            </a:lvl4pPr>
            <a:lvl5pPr>
              <a:defRPr>
                <a:latin typeface="Calibri" panose="020F0502020204030204"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Slide Number Placeholder 3"/>
          <p:cNvSpPr>
            <a:spLocks noGrp="1"/>
          </p:cNvSpPr>
          <p:nvPr>
            <p:ph type="sldNum" sz="quarter" idx="10"/>
          </p:nvPr>
        </p:nvSpPr>
        <p:spPr>
          <a:xfrm>
            <a:off x="6818313" y="6265863"/>
            <a:ext cx="2133600" cy="476250"/>
          </a:xfrm>
        </p:spPr>
        <p:txBody>
          <a:bodyPr/>
          <a:lstStyle>
            <a:lvl1pPr>
              <a:defRPr/>
            </a:lvl1pPr>
          </a:lstStyle>
          <a:p>
            <a:fld id="{6EA8D270-DAAB-1D48-AD6B-8043B7827426}" type="slidenum">
              <a:rPr lang="en-US" smtClean="0">
                <a:solidFill>
                  <a:srgbClr val="000000"/>
                </a:solidFill>
              </a:rPr>
              <a:pPr/>
              <a:t>‹#›</a:t>
            </a:fld>
            <a:endParaRPr lang="en-US" dirty="0">
              <a:solidFill>
                <a:srgbClr val="000000"/>
              </a:solidFill>
            </a:endParaRPr>
          </a:p>
        </p:txBody>
      </p:sp>
    </p:spTree>
    <p:extLst/>
  </p:cSld>
  <p:clrMapOvr>
    <a:masterClrMapping/>
  </p:clrMapOvr>
  <p:timing>
    <p:tnLst>
      <p:par>
        <p:cTn xmlns:p14="http://schemas.microsoft.com/office/powerpoint/2010/mai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5"/>
          <p:cNvSpPr>
            <a:spLocks noGrp="1" noChangeArrowheads="1"/>
          </p:cNvSpPr>
          <p:nvPr>
            <p:ph type="sldNum" sz="quarter" idx="10"/>
          </p:nvPr>
        </p:nvSpPr>
        <p:spPr>
          <a:ln/>
        </p:spPr>
        <p:txBody>
          <a:bodyPr/>
          <a:lstStyle>
            <a:lvl1pPr>
              <a:defRPr/>
            </a:lvl1pPr>
          </a:lstStyle>
          <a:p>
            <a:fld id="{6EA8D270-DAAB-1D48-AD6B-8043B7827426}" type="slidenum">
              <a:rPr lang="en-US" smtClean="0">
                <a:solidFill>
                  <a:srgbClr val="000000"/>
                </a:solidFill>
              </a:rPr>
              <a:pPr/>
              <a:t>‹#›</a:t>
            </a:fld>
            <a:endParaRPr lang="en-US" dirty="0">
              <a:solidFill>
                <a:srgbClr val="000000"/>
              </a:solidFill>
            </a:endParaRPr>
          </a:p>
        </p:txBody>
      </p:sp>
    </p:spTree>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700088" y="1277938"/>
            <a:ext cx="3816350" cy="17176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68838" y="1277938"/>
            <a:ext cx="3817937" cy="17176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5"/>
          <p:cNvSpPr>
            <a:spLocks noGrp="1" noChangeArrowheads="1"/>
          </p:cNvSpPr>
          <p:nvPr>
            <p:ph type="sldNum" sz="quarter" idx="10"/>
          </p:nvPr>
        </p:nvSpPr>
        <p:spPr>
          <a:ln/>
        </p:spPr>
        <p:txBody>
          <a:bodyPr/>
          <a:lstStyle>
            <a:lvl1pPr>
              <a:defRPr/>
            </a:lvl1pPr>
          </a:lstStyle>
          <a:p>
            <a:fld id="{6EA8D270-DAAB-1D48-AD6B-8043B7827426}" type="slidenum">
              <a:rPr lang="en-US" smtClean="0">
                <a:solidFill>
                  <a:srgbClr val="000000"/>
                </a:solidFill>
              </a:rPr>
              <a:pPr/>
              <a:t>‹#›</a:t>
            </a:fld>
            <a:endParaRPr lang="en-US" dirty="0">
              <a:solidFill>
                <a:srgbClr val="000000"/>
              </a:solidFill>
            </a:endParaRPr>
          </a:p>
        </p:txBody>
      </p:sp>
    </p:spTree>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5"/>
          <p:cNvSpPr>
            <a:spLocks noGrp="1" noChangeArrowheads="1"/>
          </p:cNvSpPr>
          <p:nvPr>
            <p:ph type="sldNum" sz="quarter" idx="10"/>
          </p:nvPr>
        </p:nvSpPr>
        <p:spPr>
          <a:ln/>
        </p:spPr>
        <p:txBody>
          <a:bodyPr/>
          <a:lstStyle>
            <a:lvl1pPr>
              <a:defRPr/>
            </a:lvl1pPr>
          </a:lstStyle>
          <a:p>
            <a:fld id="{6EA8D270-DAAB-1D48-AD6B-8043B7827426}" type="slidenum">
              <a:rPr lang="en-US" smtClean="0">
                <a:solidFill>
                  <a:srgbClr val="000000"/>
                </a:solidFill>
              </a:rPr>
              <a:pPr/>
              <a:t>‹#›</a:t>
            </a:fld>
            <a:endParaRPr lang="en-US" dirty="0">
              <a:solidFill>
                <a:srgbClr val="000000"/>
              </a:solidFill>
            </a:endParaRPr>
          </a:p>
        </p:txBody>
      </p:sp>
    </p:spTree>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D18879BB-F39C-4DC6-BAA4-D75F2BCB1E44}" type="datetimeFigureOut">
              <a:rPr lang="en-US" smtClean="0">
                <a:solidFill>
                  <a:prstClr val="black">
                    <a:tint val="75000"/>
                  </a:prstClr>
                </a:solidFill>
                <a:latin typeface="Calibri"/>
              </a:rPr>
              <a:pPr/>
              <a:t>7/23/18</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F184FCD3-C2BE-43CF-903B-BF41DBAD93EA}"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86302125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5"/>
          <p:cNvSpPr>
            <a:spLocks noGrp="1" noChangeArrowheads="1"/>
          </p:cNvSpPr>
          <p:nvPr>
            <p:ph type="sldNum" sz="quarter" idx="10"/>
          </p:nvPr>
        </p:nvSpPr>
        <p:spPr>
          <a:ln/>
        </p:spPr>
        <p:txBody>
          <a:bodyPr/>
          <a:lstStyle>
            <a:lvl1pPr>
              <a:defRPr/>
            </a:lvl1pPr>
          </a:lstStyle>
          <a:p>
            <a:fld id="{6EA8D270-DAAB-1D48-AD6B-8043B7827426}" type="slidenum">
              <a:rPr lang="en-US" smtClean="0">
                <a:solidFill>
                  <a:srgbClr val="000000"/>
                </a:solidFill>
              </a:rPr>
              <a:pPr/>
              <a:t>‹#›</a:t>
            </a:fld>
            <a:endParaRPr lang="en-US" dirty="0">
              <a:solidFill>
                <a:srgbClr val="000000"/>
              </a:solidFill>
            </a:endParaRPr>
          </a:p>
        </p:txBody>
      </p:sp>
    </p:spTree>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5"/>
          <p:cNvSpPr>
            <a:spLocks noGrp="1" noChangeArrowheads="1"/>
          </p:cNvSpPr>
          <p:nvPr>
            <p:ph type="sldNum" sz="quarter" idx="10"/>
          </p:nvPr>
        </p:nvSpPr>
        <p:spPr>
          <a:ln/>
        </p:spPr>
        <p:txBody>
          <a:bodyPr/>
          <a:lstStyle>
            <a:lvl1pPr>
              <a:defRPr/>
            </a:lvl1pPr>
          </a:lstStyle>
          <a:p>
            <a:fld id="{6EA8D270-DAAB-1D48-AD6B-8043B7827426}" type="slidenum">
              <a:rPr lang="en-US" smtClean="0">
                <a:solidFill>
                  <a:srgbClr val="000000"/>
                </a:solidFill>
              </a:rPr>
              <a:pPr/>
              <a:t>‹#›</a:t>
            </a:fld>
            <a:endParaRPr lang="en-US" dirty="0">
              <a:solidFill>
                <a:srgbClr val="000000"/>
              </a:solidFill>
            </a:endParaRPr>
          </a:p>
        </p:txBody>
      </p:sp>
    </p:spTree>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sldNum" sz="quarter" idx="10"/>
          </p:nvPr>
        </p:nvSpPr>
        <p:spPr>
          <a:ln/>
        </p:spPr>
        <p:txBody>
          <a:bodyPr/>
          <a:lstStyle>
            <a:lvl1pPr>
              <a:defRPr/>
            </a:lvl1pPr>
          </a:lstStyle>
          <a:p>
            <a:fld id="{6EA8D270-DAAB-1D48-AD6B-8043B7827426}" type="slidenum">
              <a:rPr lang="en-US" smtClean="0">
                <a:solidFill>
                  <a:srgbClr val="000000"/>
                </a:solidFill>
              </a:rPr>
              <a:pPr/>
              <a:t>‹#›</a:t>
            </a:fld>
            <a:endParaRPr lang="en-US" dirty="0">
              <a:solidFill>
                <a:srgbClr val="000000"/>
              </a:solidFill>
            </a:endParaRPr>
          </a:p>
        </p:txBody>
      </p:sp>
    </p:spTree>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Drag picture to placeholder or click icon to add</a:t>
            </a:r>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5"/>
          <p:cNvSpPr>
            <a:spLocks noGrp="1" noChangeArrowheads="1"/>
          </p:cNvSpPr>
          <p:nvPr>
            <p:ph type="sldNum" sz="quarter" idx="10"/>
          </p:nvPr>
        </p:nvSpPr>
        <p:spPr>
          <a:ln/>
        </p:spPr>
        <p:txBody>
          <a:bodyPr/>
          <a:lstStyle>
            <a:lvl1pPr>
              <a:defRPr/>
            </a:lvl1pPr>
          </a:lstStyle>
          <a:p>
            <a:fld id="{6EA8D270-DAAB-1D48-AD6B-8043B7827426}" type="slidenum">
              <a:rPr lang="en-US" smtClean="0">
                <a:solidFill>
                  <a:srgbClr val="000000"/>
                </a:solidFill>
              </a:rPr>
              <a:pPr/>
              <a:t>‹#›</a:t>
            </a:fld>
            <a:endParaRPr lang="en-US" dirty="0">
              <a:solidFill>
                <a:srgbClr val="000000"/>
              </a:solidFill>
            </a:endParaRPr>
          </a:p>
        </p:txBody>
      </p:sp>
    </p:spTree>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sldNum" sz="quarter" idx="10"/>
          </p:nvPr>
        </p:nvSpPr>
        <p:spPr>
          <a:ln/>
        </p:spPr>
        <p:txBody>
          <a:bodyPr/>
          <a:lstStyle>
            <a:lvl1pPr>
              <a:defRPr/>
            </a:lvl1pPr>
          </a:lstStyle>
          <a:p>
            <a:fld id="{6EA8D270-DAAB-1D48-AD6B-8043B7827426}" type="slidenum">
              <a:rPr lang="en-US" smtClean="0">
                <a:solidFill>
                  <a:srgbClr val="000000"/>
                </a:solidFill>
              </a:rPr>
              <a:pPr/>
              <a:t>‹#›</a:t>
            </a:fld>
            <a:endParaRPr lang="en-US" dirty="0">
              <a:solidFill>
                <a:srgbClr val="000000"/>
              </a:solidFill>
            </a:endParaRPr>
          </a:p>
        </p:txBody>
      </p:sp>
    </p:spTree>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762750" y="52388"/>
            <a:ext cx="2189163" cy="29432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193675" y="52388"/>
            <a:ext cx="6416675" cy="29432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5"/>
          <p:cNvSpPr>
            <a:spLocks noGrp="1" noChangeArrowheads="1"/>
          </p:cNvSpPr>
          <p:nvPr>
            <p:ph type="sldNum" sz="quarter" idx="10"/>
          </p:nvPr>
        </p:nvSpPr>
        <p:spPr>
          <a:ln/>
        </p:spPr>
        <p:txBody>
          <a:bodyPr/>
          <a:lstStyle>
            <a:lvl1pPr>
              <a:defRPr/>
            </a:lvl1pPr>
          </a:lstStyle>
          <a:p>
            <a:fld id="{6EA8D270-DAAB-1D48-AD6B-8043B7827426}" type="slidenum">
              <a:rPr lang="en-US" smtClean="0">
                <a:solidFill>
                  <a:srgbClr val="000000"/>
                </a:solidFill>
              </a:rPr>
              <a:pPr/>
              <a:t>‹#›</a:t>
            </a:fld>
            <a:endParaRPr lang="en-US" dirty="0">
              <a:solidFill>
                <a:srgbClr val="000000"/>
              </a:solidFill>
            </a:endParaRPr>
          </a:p>
        </p:txBody>
      </p:sp>
    </p:spTree>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93675" y="52388"/>
            <a:ext cx="8758238" cy="908050"/>
          </a:xfrm>
        </p:spPr>
        <p:txBody>
          <a:bodyPr/>
          <a:lstStyle/>
          <a:p>
            <a:r>
              <a:rPr lang="en-US" dirty="0" smtClean="0"/>
              <a:t>Click to edit Master title style</a:t>
            </a:r>
            <a:endParaRPr lang="en-US" dirty="0"/>
          </a:p>
        </p:txBody>
      </p:sp>
      <p:sp>
        <p:nvSpPr>
          <p:cNvPr id="3" name="Table Placeholder 2"/>
          <p:cNvSpPr>
            <a:spLocks noGrp="1"/>
          </p:cNvSpPr>
          <p:nvPr>
            <p:ph type="tbl" idx="1"/>
          </p:nvPr>
        </p:nvSpPr>
        <p:spPr>
          <a:xfrm>
            <a:off x="700088" y="1277938"/>
            <a:ext cx="7786687" cy="1717675"/>
          </a:xfrm>
        </p:spPr>
        <p:txBody>
          <a:bodyPr/>
          <a:lstStyle/>
          <a:p>
            <a:pPr lvl="0"/>
            <a:r>
              <a:rPr lang="en-US" noProof="0" dirty="0" smtClean="0"/>
              <a:t>Click icon to add table</a:t>
            </a:r>
          </a:p>
        </p:txBody>
      </p:sp>
      <p:sp>
        <p:nvSpPr>
          <p:cNvPr id="4" name="Rectangle 5"/>
          <p:cNvSpPr>
            <a:spLocks noGrp="1" noChangeArrowheads="1"/>
          </p:cNvSpPr>
          <p:nvPr>
            <p:ph type="sldNum" sz="quarter" idx="10"/>
          </p:nvPr>
        </p:nvSpPr>
        <p:spPr>
          <a:ln/>
        </p:spPr>
        <p:txBody>
          <a:bodyPr/>
          <a:lstStyle>
            <a:lvl1pPr>
              <a:defRPr/>
            </a:lvl1pPr>
          </a:lstStyle>
          <a:p>
            <a:fld id="{6EA8D270-DAAB-1D48-AD6B-8043B7827426}" type="slidenum">
              <a:rPr lang="en-US" smtClean="0">
                <a:solidFill>
                  <a:srgbClr val="000000"/>
                </a:solidFill>
              </a:rPr>
              <a:pPr/>
              <a:t>‹#›</a:t>
            </a:fld>
            <a:endParaRPr lang="en-US" dirty="0">
              <a:solidFill>
                <a:srgbClr val="000000"/>
              </a:solidFill>
            </a:endParaRPr>
          </a:p>
        </p:txBody>
      </p:sp>
    </p:spTree>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objOnly">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2" y="274642"/>
            <a:ext cx="8229600" cy="5851525"/>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TextBox 2"/>
          <p:cNvSpPr txBox="1"/>
          <p:nvPr userDrawn="1"/>
        </p:nvSpPr>
        <p:spPr>
          <a:xfrm>
            <a:off x="7772400" y="4"/>
            <a:ext cx="1388650" cy="276999"/>
          </a:xfrm>
          <a:prstGeom prst="rect">
            <a:avLst/>
          </a:prstGeom>
          <a:noFill/>
        </p:spPr>
        <p:txBody>
          <a:bodyPr wrap="none" rtlCol="0">
            <a:spAutoFit/>
          </a:bodyPr>
          <a:lstStyle/>
          <a:p>
            <a:pPr defTabSz="457200"/>
            <a:r>
              <a:rPr lang="en-US" sz="1200" b="1" dirty="0">
                <a:solidFill>
                  <a:prstClr val="black"/>
                </a:solidFill>
                <a:latin typeface="Calibri"/>
              </a:rPr>
              <a:t>Internal Document</a:t>
            </a:r>
          </a:p>
        </p:txBody>
      </p:sp>
    </p:spTree>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lvl1pPr>
              <a:defRPr sz="3200"/>
            </a:lvl1p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sz="2400"/>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dirty="0"/>
          </a:p>
        </p:txBody>
      </p:sp>
      <p:sp>
        <p:nvSpPr>
          <p:cNvPr id="4" name="Rectangle 8"/>
          <p:cNvSpPr>
            <a:spLocks noGrp="1" noChangeArrowheads="1"/>
          </p:cNvSpPr>
          <p:nvPr>
            <p:ph type="sldNum" sz="quarter" idx="10"/>
          </p:nvPr>
        </p:nvSpPr>
        <p:spPr>
          <a:ln/>
        </p:spPr>
        <p:txBody>
          <a:bodyPr/>
          <a:lstStyle>
            <a:lvl1pPr>
              <a:defRPr/>
            </a:lvl1pPr>
          </a:lstStyle>
          <a:p>
            <a:pPr>
              <a:defRPr/>
            </a:pPr>
            <a:fld id="{BFD1979B-EACF-460F-A3E8-1DD9D28FAF37}"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400287301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lvl1pPr>
              <a:defRPr sz="2000"/>
            </a:lvl1pPr>
            <a:lvl2pPr>
              <a:defRPr sz="20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8"/>
          <p:cNvSpPr>
            <a:spLocks noGrp="1" noChangeArrowheads="1"/>
          </p:cNvSpPr>
          <p:nvPr>
            <p:ph type="sldNum" sz="quarter" idx="10"/>
          </p:nvPr>
        </p:nvSpPr>
        <p:spPr>
          <a:ln/>
        </p:spPr>
        <p:txBody>
          <a:bodyPr/>
          <a:lstStyle>
            <a:lvl1pPr>
              <a:defRPr/>
            </a:lvl1pPr>
          </a:lstStyle>
          <a:p>
            <a:pPr>
              <a:defRPr/>
            </a:pPr>
            <a:fld id="{1558CDDA-7CFD-47DD-A480-C3E43D6A8CF6}" type="slidenum">
              <a:rPr lang="en-US">
                <a:solidFill>
                  <a:srgbClr val="000000"/>
                </a:solidFill>
              </a:rPr>
              <a:pPr>
                <a:defRPr/>
              </a:pPr>
              <a:t>‹#›</a:t>
            </a:fld>
            <a:endParaRPr lang="en-US" dirty="0">
              <a:solidFill>
                <a:srgbClr val="000000"/>
              </a:solidFill>
            </a:endParaRPr>
          </a:p>
        </p:txBody>
      </p:sp>
      <p:sp>
        <p:nvSpPr>
          <p:cNvPr id="5" name="Title Placeholder 5"/>
          <p:cNvSpPr>
            <a:spLocks noGrp="1"/>
          </p:cNvSpPr>
          <p:nvPr>
            <p:ph type="title"/>
          </p:nvPr>
        </p:nvSpPr>
        <p:spPr>
          <a:xfrm>
            <a:off x="80682" y="-1"/>
            <a:ext cx="8229600" cy="100853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p14="http://schemas.microsoft.com/office/powerpoint/2010/main" val="231470761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D18879BB-F39C-4DC6-BAA4-D75F2BCB1E44}" type="datetimeFigureOut">
              <a:rPr lang="en-US" smtClean="0">
                <a:solidFill>
                  <a:prstClr val="black">
                    <a:tint val="75000"/>
                  </a:prstClr>
                </a:solidFill>
                <a:latin typeface="Calibri"/>
              </a:rPr>
              <a:pPr/>
              <a:t>7/23/18</a:t>
            </a:fld>
            <a:endParaRPr lang="en-US">
              <a:solidFill>
                <a:prstClr val="black">
                  <a:tint val="75000"/>
                </a:prstClr>
              </a:solidFill>
              <a:latin typeface="Calibri"/>
            </a:endParaRPr>
          </a:p>
        </p:txBody>
      </p:sp>
      <p:sp>
        <p:nvSpPr>
          <p:cNvPr id="8" name="Footer Placeholder 7"/>
          <p:cNvSpPr>
            <a:spLocks noGrp="1"/>
          </p:cNvSpPr>
          <p:nvPr>
            <p:ph type="ftr" sz="quarter" idx="11"/>
          </p:nvPr>
        </p:nvSpPr>
        <p:spPr/>
        <p:txBody>
          <a:bodyPr/>
          <a:lstStyle/>
          <a:p>
            <a:endParaRPr lang="en-US">
              <a:solidFill>
                <a:prstClr val="black">
                  <a:tint val="75000"/>
                </a:prstClr>
              </a:solidFill>
              <a:latin typeface="Calibri"/>
            </a:endParaRPr>
          </a:p>
        </p:txBody>
      </p:sp>
      <p:sp>
        <p:nvSpPr>
          <p:cNvPr id="9" name="Slide Number Placeholder 8"/>
          <p:cNvSpPr>
            <a:spLocks noGrp="1"/>
          </p:cNvSpPr>
          <p:nvPr>
            <p:ph type="sldNum" sz="quarter" idx="12"/>
          </p:nvPr>
        </p:nvSpPr>
        <p:spPr/>
        <p:txBody>
          <a:bodyPr/>
          <a:lstStyle/>
          <a:p>
            <a:fld id="{F184FCD3-C2BE-43CF-903B-BF41DBAD93EA}"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86867980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dirty="0"/>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8"/>
          <p:cNvSpPr>
            <a:spLocks noGrp="1" noChangeArrowheads="1"/>
          </p:cNvSpPr>
          <p:nvPr>
            <p:ph type="sldNum" sz="quarter" idx="10"/>
          </p:nvPr>
        </p:nvSpPr>
        <p:spPr>
          <a:ln/>
        </p:spPr>
        <p:txBody>
          <a:bodyPr/>
          <a:lstStyle>
            <a:lvl1pPr>
              <a:defRPr/>
            </a:lvl1pPr>
          </a:lstStyle>
          <a:p>
            <a:pPr>
              <a:defRPr/>
            </a:pPr>
            <a:fld id="{8D2AF391-D637-40EB-B01D-D52A53DEBE2E}" type="slidenum">
              <a:rPr lang="en-US">
                <a:solidFill>
                  <a:srgbClr val="000000"/>
                </a:solidFill>
              </a:rPr>
              <a:pPr>
                <a:defRPr/>
              </a:pPr>
              <a:t>‹#›</a:t>
            </a:fld>
            <a:endParaRPr lang="en-US" dirty="0">
              <a:solidFill>
                <a:srgbClr val="000000"/>
              </a:solidFill>
            </a:endParaRPr>
          </a:p>
        </p:txBody>
      </p:sp>
      <p:sp>
        <p:nvSpPr>
          <p:cNvPr id="5" name="Title Placeholder 5"/>
          <p:cNvSpPr txBox="1">
            <a:spLocks/>
          </p:cNvSpPr>
          <p:nvPr userDrawn="1"/>
        </p:nvSpPr>
        <p:spPr>
          <a:xfrm>
            <a:off x="80682" y="-1"/>
            <a:ext cx="8229600" cy="1008530"/>
          </a:xfrm>
          <a:prstGeom prst="rect">
            <a:avLst/>
          </a:prstGeom>
        </p:spPr>
        <p:txBody>
          <a:bodyPr vert="horz" lIns="91440" tIns="45720" rIns="91440" bIns="45720" rtlCol="0" anchor="ctr">
            <a:normAutofit/>
          </a:bodyPr>
          <a:lstStyle/>
          <a:p>
            <a:pPr marL="231775" indent="-231775" fontAlgn="base">
              <a:spcBef>
                <a:spcPct val="0"/>
              </a:spcBef>
              <a:spcAft>
                <a:spcPct val="0"/>
              </a:spcAft>
              <a:defRPr/>
            </a:pPr>
            <a:endParaRPr lang="en-US" sz="2400" kern="0" dirty="0">
              <a:solidFill>
                <a:srgbClr val="FFFFFF"/>
              </a:solidFill>
            </a:endParaRPr>
          </a:p>
        </p:txBody>
      </p:sp>
    </p:spTree>
    <p:extLst>
      <p:ext uri="{BB962C8B-B14F-4D97-AF65-F5344CB8AC3E}">
        <p14:creationId xmlns:p14="http://schemas.microsoft.com/office/powerpoint/2010/main" val="1254112633"/>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600200"/>
            <a:ext cx="4038600" cy="4525963"/>
          </a:xfrm>
          <a:prstGeom prst="rect">
            <a:avLst/>
          </a:prstGeom>
        </p:spPr>
        <p:txBody>
          <a:bodyPr/>
          <a:lstStyle>
            <a:lvl1pPr marL="228600" indent="-228600">
              <a:defRPr sz="2000"/>
            </a:lvl1pPr>
            <a:lvl2pPr marL="511175" indent="-228600">
              <a:buFont typeface="Wingdings" pitchFamily="2" charset="2"/>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8"/>
          <p:cNvSpPr>
            <a:spLocks noGrp="1" noChangeArrowheads="1"/>
          </p:cNvSpPr>
          <p:nvPr>
            <p:ph type="sldNum" sz="quarter" idx="10"/>
          </p:nvPr>
        </p:nvSpPr>
        <p:spPr>
          <a:ln/>
        </p:spPr>
        <p:txBody>
          <a:bodyPr/>
          <a:lstStyle>
            <a:lvl1pPr>
              <a:defRPr/>
            </a:lvl1pPr>
          </a:lstStyle>
          <a:p>
            <a:pPr>
              <a:defRPr/>
            </a:pPr>
            <a:fld id="{936DDBCF-8802-4B29-85D7-091E46AC652A}" type="slidenum">
              <a:rPr lang="en-US">
                <a:solidFill>
                  <a:srgbClr val="000000"/>
                </a:solidFill>
              </a:rPr>
              <a:pPr>
                <a:defRPr/>
              </a:pPr>
              <a:t>‹#›</a:t>
            </a:fld>
            <a:endParaRPr lang="en-US" dirty="0">
              <a:solidFill>
                <a:srgbClr val="000000"/>
              </a:solidFill>
            </a:endParaRPr>
          </a:p>
        </p:txBody>
      </p:sp>
      <p:sp>
        <p:nvSpPr>
          <p:cNvPr id="6" name="Content Placeholder 2"/>
          <p:cNvSpPr>
            <a:spLocks noGrp="1"/>
          </p:cNvSpPr>
          <p:nvPr>
            <p:ph sz="half" idx="11"/>
          </p:nvPr>
        </p:nvSpPr>
        <p:spPr>
          <a:xfrm>
            <a:off x="4684058" y="1618129"/>
            <a:ext cx="4038600" cy="4525963"/>
          </a:xfrm>
          <a:prstGeom prst="rect">
            <a:avLst/>
          </a:prstGeom>
        </p:spPr>
        <p:txBody>
          <a:bodyPr/>
          <a:lstStyle>
            <a:lvl1pPr marL="228600" indent="-228600">
              <a:defRPr sz="2000"/>
            </a:lvl1pPr>
            <a:lvl2pPr marL="511175" indent="-228600">
              <a:buFont typeface="Wingdings" pitchFamily="2" charset="2"/>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5"/>
          <p:cNvSpPr>
            <a:spLocks noGrp="1"/>
          </p:cNvSpPr>
          <p:nvPr>
            <p:ph type="title"/>
          </p:nvPr>
        </p:nvSpPr>
        <p:spPr>
          <a:xfrm>
            <a:off x="80682" y="-1"/>
            <a:ext cx="8229600" cy="100853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p14="http://schemas.microsoft.com/office/powerpoint/2010/main" val="8316994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8"/>
          <p:cNvSpPr>
            <a:spLocks noGrp="1" noChangeArrowheads="1"/>
          </p:cNvSpPr>
          <p:nvPr>
            <p:ph type="sldNum" sz="quarter" idx="10"/>
          </p:nvPr>
        </p:nvSpPr>
        <p:spPr>
          <a:ln/>
        </p:spPr>
        <p:txBody>
          <a:bodyPr/>
          <a:lstStyle>
            <a:lvl1pPr>
              <a:defRPr/>
            </a:lvl1pPr>
          </a:lstStyle>
          <a:p>
            <a:pPr>
              <a:defRPr/>
            </a:pPr>
            <a:fld id="{AAC37394-698D-4361-AB41-39B862FD8C36}" type="slidenum">
              <a:rPr lang="en-US">
                <a:solidFill>
                  <a:srgbClr val="000000"/>
                </a:solidFill>
              </a:rPr>
              <a:pPr>
                <a:defRPr/>
              </a:pPr>
              <a:t>‹#›</a:t>
            </a:fld>
            <a:endParaRPr lang="en-US" dirty="0">
              <a:solidFill>
                <a:srgbClr val="000000"/>
              </a:solidFill>
            </a:endParaRPr>
          </a:p>
        </p:txBody>
      </p:sp>
      <p:sp>
        <p:nvSpPr>
          <p:cNvPr id="8" name="Content Placeholder 2"/>
          <p:cNvSpPr>
            <a:spLocks noGrp="1"/>
          </p:cNvSpPr>
          <p:nvPr>
            <p:ph sz="half" idx="11" hasCustomPrompt="1"/>
          </p:nvPr>
        </p:nvSpPr>
        <p:spPr>
          <a:xfrm>
            <a:off x="457200" y="2178424"/>
            <a:ext cx="4038600" cy="3947739"/>
          </a:xfrm>
          <a:prstGeom prst="rect">
            <a:avLst/>
          </a:prstGeom>
        </p:spPr>
        <p:txBody>
          <a:bodyPr/>
          <a:lstStyle>
            <a:lvl1pPr marL="228600" indent="-228600">
              <a:defRPr sz="2000"/>
            </a:lvl1pPr>
            <a:lvl2pPr marL="511175" indent="-228600">
              <a:buFont typeface="Arial" pitchFamily="34" charset="0"/>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2"/>
          <p:cNvSpPr>
            <a:spLocks noGrp="1"/>
          </p:cNvSpPr>
          <p:nvPr>
            <p:ph sz="half" idx="12" hasCustomPrompt="1"/>
          </p:nvPr>
        </p:nvSpPr>
        <p:spPr>
          <a:xfrm>
            <a:off x="4657165" y="2196354"/>
            <a:ext cx="4038600" cy="3947739"/>
          </a:xfrm>
          <a:prstGeom prst="rect">
            <a:avLst/>
          </a:prstGeom>
        </p:spPr>
        <p:txBody>
          <a:bodyPr/>
          <a:lstStyle>
            <a:lvl1pPr marL="228600" indent="-228600">
              <a:defRPr sz="2000"/>
            </a:lvl1pPr>
            <a:lvl2pPr marL="511175" indent="-228600">
              <a:buFont typeface="Arial" pitchFamily="34" charset="0"/>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itle Placeholder 5"/>
          <p:cNvSpPr>
            <a:spLocks noGrp="1"/>
          </p:cNvSpPr>
          <p:nvPr>
            <p:ph type="title"/>
          </p:nvPr>
        </p:nvSpPr>
        <p:spPr>
          <a:xfrm>
            <a:off x="80682" y="-1"/>
            <a:ext cx="8229600" cy="100853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p14="http://schemas.microsoft.com/office/powerpoint/2010/main" val="200630958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8"/>
          <p:cNvSpPr>
            <a:spLocks noGrp="1" noChangeArrowheads="1"/>
          </p:cNvSpPr>
          <p:nvPr>
            <p:ph type="sldNum" sz="quarter" idx="10"/>
          </p:nvPr>
        </p:nvSpPr>
        <p:spPr>
          <a:ln/>
        </p:spPr>
        <p:txBody>
          <a:bodyPr/>
          <a:lstStyle>
            <a:lvl1pPr>
              <a:defRPr/>
            </a:lvl1pPr>
          </a:lstStyle>
          <a:p>
            <a:pPr>
              <a:defRPr/>
            </a:pPr>
            <a:fld id="{D0944D99-665D-43B5-A36B-8D0B4985ACF8}" type="slidenum">
              <a:rPr lang="en-US">
                <a:solidFill>
                  <a:srgbClr val="000000"/>
                </a:solidFill>
              </a:rPr>
              <a:pPr>
                <a:defRPr/>
              </a:pPr>
              <a:t>‹#›</a:t>
            </a:fld>
            <a:endParaRPr lang="en-US" dirty="0">
              <a:solidFill>
                <a:srgbClr val="000000"/>
              </a:solidFill>
            </a:endParaRPr>
          </a:p>
        </p:txBody>
      </p:sp>
      <p:sp>
        <p:nvSpPr>
          <p:cNvPr id="4" name="Title Placeholder 5"/>
          <p:cNvSpPr>
            <a:spLocks noGrp="1"/>
          </p:cNvSpPr>
          <p:nvPr>
            <p:ph type="title"/>
          </p:nvPr>
        </p:nvSpPr>
        <p:spPr>
          <a:xfrm>
            <a:off x="80682" y="-1"/>
            <a:ext cx="8229600" cy="100853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p14="http://schemas.microsoft.com/office/powerpoint/2010/main" val="3859623591"/>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8"/>
          <p:cNvSpPr>
            <a:spLocks noGrp="1" noChangeArrowheads="1"/>
          </p:cNvSpPr>
          <p:nvPr>
            <p:ph type="sldNum" sz="quarter" idx="10"/>
          </p:nvPr>
        </p:nvSpPr>
        <p:spPr>
          <a:ln/>
        </p:spPr>
        <p:txBody>
          <a:bodyPr/>
          <a:lstStyle>
            <a:lvl1pPr>
              <a:defRPr/>
            </a:lvl1pPr>
          </a:lstStyle>
          <a:p>
            <a:pPr>
              <a:defRPr/>
            </a:pPr>
            <a:fld id="{89A31C09-2C0A-4119-A886-5F6E33B0AFC9}" type="slidenum">
              <a:rPr lang="en-US">
                <a:solidFill>
                  <a:srgbClr val="000000"/>
                </a:solidFill>
              </a:rPr>
              <a:pPr>
                <a:defRPr/>
              </a:pPr>
              <a:t>‹#›</a:t>
            </a:fld>
            <a:endParaRPr lang="en-US" dirty="0">
              <a:solidFill>
                <a:srgbClr val="000000"/>
              </a:solidFill>
            </a:endParaRPr>
          </a:p>
        </p:txBody>
      </p:sp>
      <p:sp>
        <p:nvSpPr>
          <p:cNvPr id="3" name="Title Placeholder 5"/>
          <p:cNvSpPr>
            <a:spLocks noGrp="1"/>
          </p:cNvSpPr>
          <p:nvPr>
            <p:ph type="title"/>
          </p:nvPr>
        </p:nvSpPr>
        <p:spPr>
          <a:xfrm>
            <a:off x="80682" y="-1"/>
            <a:ext cx="8229600" cy="100853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p14="http://schemas.microsoft.com/office/powerpoint/2010/main" val="106390044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1452281"/>
            <a:ext cx="3008313" cy="883767"/>
          </a:xfrm>
          <a:prstGeom prst="rect">
            <a:avLst/>
          </a:prstGeo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1438835"/>
            <a:ext cx="5111750" cy="5131079"/>
          </a:xfrm>
          <a:prstGeom prst="rect">
            <a:avLst/>
          </a:prstGeom>
        </p:spPr>
        <p:txBody>
          <a:bodyPr/>
          <a:lstStyle>
            <a:lvl1pPr>
              <a:defRPr sz="2400"/>
            </a:lvl1pPr>
            <a:lvl2pPr marL="581025" indent="-285750">
              <a:buFont typeface="Arial" pitchFamily="34" charset="0"/>
              <a:buChar char="•"/>
              <a:defRPr sz="2000"/>
            </a:lvl2pPr>
            <a:lvl3pPr marL="968375" indent="-228600">
              <a:defRPr sz="2000"/>
            </a:lvl3pPr>
            <a:lvl4pPr marL="1263650" indent="-228600">
              <a:buFont typeface="Arial" pitchFamily="34" charset="0"/>
              <a:buChar char="•"/>
              <a:defRPr sz="1600"/>
            </a:lvl4pPr>
            <a:lvl5pPr marL="1492250" indent="-228600">
              <a:buFont typeface="Arial" pitchFamily="34" charset="0"/>
              <a:buChar char="•"/>
              <a:defRPr sz="16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0" y="2420471"/>
            <a:ext cx="3008313" cy="414944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8"/>
          <p:cNvSpPr>
            <a:spLocks noGrp="1" noChangeArrowheads="1"/>
          </p:cNvSpPr>
          <p:nvPr>
            <p:ph type="sldNum" sz="quarter" idx="10"/>
          </p:nvPr>
        </p:nvSpPr>
        <p:spPr>
          <a:ln/>
        </p:spPr>
        <p:txBody>
          <a:bodyPr/>
          <a:lstStyle>
            <a:lvl1pPr>
              <a:defRPr/>
            </a:lvl1pPr>
          </a:lstStyle>
          <a:p>
            <a:pPr>
              <a:defRPr/>
            </a:pPr>
            <a:fld id="{0054BA71-A52C-4C93-81C6-392152960A17}" type="slidenum">
              <a:rPr lang="en-US">
                <a:solidFill>
                  <a:srgbClr val="000000"/>
                </a:solidFill>
              </a:rPr>
              <a:pPr>
                <a:defRPr/>
              </a:pPr>
              <a:t>‹#›</a:t>
            </a:fld>
            <a:endParaRPr lang="en-US" dirty="0">
              <a:solidFill>
                <a:srgbClr val="000000"/>
              </a:solidFill>
            </a:endParaRPr>
          </a:p>
        </p:txBody>
      </p:sp>
      <p:sp>
        <p:nvSpPr>
          <p:cNvPr id="6" name="Title Placeholder 5"/>
          <p:cNvSpPr txBox="1">
            <a:spLocks/>
          </p:cNvSpPr>
          <p:nvPr userDrawn="1"/>
        </p:nvSpPr>
        <p:spPr>
          <a:xfrm>
            <a:off x="80682" y="-1"/>
            <a:ext cx="8229600" cy="1008530"/>
          </a:xfrm>
          <a:prstGeom prst="rect">
            <a:avLst/>
          </a:prstGeom>
        </p:spPr>
        <p:txBody>
          <a:bodyPr vert="horz" lIns="91440" tIns="45720" rIns="91440" bIns="45720" rtlCol="0" anchor="ctr">
            <a:normAutofit/>
          </a:bodyPr>
          <a:lstStyle/>
          <a:p>
            <a:pPr marL="231775" indent="-231775" fontAlgn="base">
              <a:spcBef>
                <a:spcPct val="0"/>
              </a:spcBef>
              <a:spcAft>
                <a:spcPct val="0"/>
              </a:spcAft>
              <a:defRPr/>
            </a:pPr>
            <a:r>
              <a:rPr lang="en-US" sz="2400" kern="0" smtClean="0">
                <a:solidFill>
                  <a:srgbClr val="FFFFFF"/>
                </a:solidFill>
              </a:rPr>
              <a:t>Click to edit Master title style</a:t>
            </a:r>
            <a:endParaRPr lang="en-US" sz="2400" kern="0" dirty="0">
              <a:solidFill>
                <a:srgbClr val="FFFFFF"/>
              </a:solidFill>
            </a:endParaRPr>
          </a:p>
        </p:txBody>
      </p:sp>
    </p:spTree>
    <p:extLst>
      <p:ext uri="{BB962C8B-B14F-4D97-AF65-F5344CB8AC3E}">
        <p14:creationId xmlns:p14="http://schemas.microsoft.com/office/powerpoint/2010/main" val="225584259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76800"/>
            <a:ext cx="5486400" cy="566738"/>
          </a:xfrm>
          <a:prstGeom prst="rect">
            <a:avLst/>
          </a:prstGeom>
        </p:spPr>
        <p:txBody>
          <a:bodyPr anchor="b"/>
          <a:lstStyle>
            <a:lvl1pPr algn="l">
              <a:defRPr sz="2000" b="1">
                <a:latin typeface="+mj-lt"/>
              </a:defRPr>
            </a:lvl1pPr>
          </a:lstStyle>
          <a:p>
            <a:r>
              <a:rPr lang="en-US" smtClean="0"/>
              <a:t>Click to edit Master title style</a:t>
            </a:r>
            <a:endParaRPr lang="en-US" dirty="0"/>
          </a:p>
        </p:txBody>
      </p:sp>
      <p:sp>
        <p:nvSpPr>
          <p:cNvPr id="3" name="Picture Placeholder 2"/>
          <p:cNvSpPr>
            <a:spLocks noGrp="1"/>
          </p:cNvSpPr>
          <p:nvPr>
            <p:ph type="pic" idx="1"/>
          </p:nvPr>
        </p:nvSpPr>
        <p:spPr>
          <a:xfrm>
            <a:off x="1792288" y="1358899"/>
            <a:ext cx="5486400" cy="336867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dirty="0" smtClean="0"/>
          </a:p>
        </p:txBody>
      </p:sp>
      <p:sp>
        <p:nvSpPr>
          <p:cNvPr id="4" name="Text Placeholder 3"/>
          <p:cNvSpPr>
            <a:spLocks noGrp="1"/>
          </p:cNvSpPr>
          <p:nvPr>
            <p:ph type="body" sz="half" idx="2"/>
          </p:nvPr>
        </p:nvSpPr>
        <p:spPr>
          <a:xfrm>
            <a:off x="1792288" y="5494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8"/>
          <p:cNvSpPr>
            <a:spLocks noGrp="1" noChangeArrowheads="1"/>
          </p:cNvSpPr>
          <p:nvPr>
            <p:ph type="sldNum" sz="quarter" idx="10"/>
          </p:nvPr>
        </p:nvSpPr>
        <p:spPr>
          <a:ln/>
        </p:spPr>
        <p:txBody>
          <a:bodyPr/>
          <a:lstStyle>
            <a:lvl1pPr>
              <a:defRPr/>
            </a:lvl1pPr>
          </a:lstStyle>
          <a:p>
            <a:pPr>
              <a:defRPr/>
            </a:pPr>
            <a:fld id="{E5809930-0FD2-4619-8B3B-F973C93ED975}"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67902792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8"/>
          <p:cNvSpPr>
            <a:spLocks noGrp="1" noChangeArrowheads="1"/>
          </p:cNvSpPr>
          <p:nvPr>
            <p:ph type="sldNum" sz="quarter" idx="10"/>
          </p:nvPr>
        </p:nvSpPr>
        <p:spPr>
          <a:ln/>
        </p:spPr>
        <p:txBody>
          <a:bodyPr/>
          <a:lstStyle>
            <a:lvl1pPr>
              <a:defRPr/>
            </a:lvl1pPr>
          </a:lstStyle>
          <a:p>
            <a:pPr>
              <a:defRPr/>
            </a:pPr>
            <a:fld id="{35563F22-7F08-4DCB-B9B3-4A1468AF7CF3}"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07647664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371600"/>
            <a:ext cx="2057400" cy="4754563"/>
          </a:xfrm>
          <a:prstGeom prst="rect">
            <a:avLst/>
          </a:prstGeom>
        </p:spPr>
        <p:txBody>
          <a:bodyPr vert="eaVert"/>
          <a:lstStyle>
            <a:lvl1pPr>
              <a:defRPr sz="3200"/>
            </a:lvl1p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57200" y="1371600"/>
            <a:ext cx="6019800" cy="4754563"/>
          </a:xfrm>
          <a:prstGeom prst="rect">
            <a:avLst/>
          </a:prstGeom>
        </p:spPr>
        <p:txBody>
          <a:bodyPr vert="eaVert"/>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8"/>
          <p:cNvSpPr>
            <a:spLocks noGrp="1" noChangeArrowheads="1"/>
          </p:cNvSpPr>
          <p:nvPr>
            <p:ph type="sldNum" sz="quarter" idx="10"/>
          </p:nvPr>
        </p:nvSpPr>
        <p:spPr>
          <a:ln/>
        </p:spPr>
        <p:txBody>
          <a:bodyPr/>
          <a:lstStyle>
            <a:lvl1pPr>
              <a:defRPr/>
            </a:lvl1pPr>
          </a:lstStyle>
          <a:p>
            <a:pPr>
              <a:defRPr/>
            </a:pPr>
            <a:fld id="{FF6BA7EB-A81B-4CC1-8827-A248A26ADF25}"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298152680"/>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1498600"/>
            <a:ext cx="8229600" cy="4627563"/>
          </a:xfrm>
          <a:prstGeom prst="rect">
            <a:avLst/>
          </a:prstGeom>
        </p:spPr>
        <p:txBody>
          <a:bodyPr/>
          <a:lstStyle>
            <a:lvl1pPr>
              <a:defRPr sz="2000"/>
            </a:lvl1pPr>
            <a:lvl2pPr>
              <a:defRPr sz="20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Rectangle 8"/>
          <p:cNvSpPr>
            <a:spLocks noGrp="1" noChangeArrowheads="1"/>
          </p:cNvSpPr>
          <p:nvPr>
            <p:ph type="sldNum" sz="quarter" idx="10"/>
          </p:nvPr>
        </p:nvSpPr>
        <p:spPr>
          <a:ln/>
        </p:spPr>
        <p:txBody>
          <a:bodyPr/>
          <a:lstStyle>
            <a:lvl1pPr>
              <a:defRPr/>
            </a:lvl1pPr>
          </a:lstStyle>
          <a:p>
            <a:pPr>
              <a:defRPr/>
            </a:pPr>
            <a:fld id="{31F46A52-DF43-48CC-852C-556A345D48DE}" type="slidenum">
              <a:rPr lang="en-US">
                <a:solidFill>
                  <a:srgbClr val="000000"/>
                </a:solidFill>
              </a:rPr>
              <a:pPr>
                <a:defRPr/>
              </a:pPr>
              <a:t>‹#›</a:t>
            </a:fld>
            <a:endParaRPr lang="en-US" dirty="0">
              <a:solidFill>
                <a:srgbClr val="000000"/>
              </a:solidFill>
            </a:endParaRPr>
          </a:p>
        </p:txBody>
      </p:sp>
      <p:sp>
        <p:nvSpPr>
          <p:cNvPr id="4" name="Title Placeholder 5"/>
          <p:cNvSpPr>
            <a:spLocks noGrp="1"/>
          </p:cNvSpPr>
          <p:nvPr>
            <p:ph type="title" idx="11"/>
          </p:nvPr>
        </p:nvSpPr>
        <p:spPr>
          <a:xfrm>
            <a:off x="80682" y="-1"/>
            <a:ext cx="8229600" cy="100853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p14="http://schemas.microsoft.com/office/powerpoint/2010/main" val="300312313"/>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D18879BB-F39C-4DC6-BAA4-D75F2BCB1E44}" type="datetimeFigureOut">
              <a:rPr lang="en-US" smtClean="0">
                <a:solidFill>
                  <a:prstClr val="black">
                    <a:tint val="75000"/>
                  </a:prstClr>
                </a:solidFill>
                <a:latin typeface="Calibri"/>
              </a:rPr>
              <a:pPr/>
              <a:t>7/23/18</a:t>
            </a:fld>
            <a:endParaRPr lang="en-US">
              <a:solidFill>
                <a:prstClr val="black">
                  <a:tint val="75000"/>
                </a:prstClr>
              </a:solidFill>
              <a:latin typeface="Calibri"/>
            </a:endParaRPr>
          </a:p>
        </p:txBody>
      </p:sp>
      <p:sp>
        <p:nvSpPr>
          <p:cNvPr id="4" name="Footer Placeholder 3"/>
          <p:cNvSpPr>
            <a:spLocks noGrp="1"/>
          </p:cNvSpPr>
          <p:nvPr>
            <p:ph type="ftr" sz="quarter" idx="11"/>
          </p:nvPr>
        </p:nvSpPr>
        <p:spPr/>
        <p:txBody>
          <a:bodyPr/>
          <a:lstStyle/>
          <a:p>
            <a:endParaRPr lang="en-US">
              <a:solidFill>
                <a:prstClr val="black">
                  <a:tint val="75000"/>
                </a:prstClr>
              </a:solidFill>
              <a:latin typeface="Calibri"/>
            </a:endParaRPr>
          </a:p>
        </p:txBody>
      </p:sp>
      <p:sp>
        <p:nvSpPr>
          <p:cNvPr id="5" name="Slide Number Placeholder 4"/>
          <p:cNvSpPr>
            <a:spLocks noGrp="1"/>
          </p:cNvSpPr>
          <p:nvPr>
            <p:ph type="sldNum" sz="quarter" idx="12"/>
          </p:nvPr>
        </p:nvSpPr>
        <p:spPr/>
        <p:txBody>
          <a:bodyPr/>
          <a:lstStyle/>
          <a:p>
            <a:fld id="{F184FCD3-C2BE-43CF-903B-BF41DBAD93EA}"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48603803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3" name="Chart Placeholder 2"/>
          <p:cNvSpPr>
            <a:spLocks noGrp="1"/>
          </p:cNvSpPr>
          <p:nvPr>
            <p:ph type="chart" idx="1"/>
          </p:nvPr>
        </p:nvSpPr>
        <p:spPr>
          <a:xfrm>
            <a:off x="457200" y="1600200"/>
            <a:ext cx="8229600" cy="4525963"/>
          </a:xfrm>
          <a:prstGeom prst="rect">
            <a:avLst/>
          </a:prstGeom>
        </p:spPr>
        <p:txBody>
          <a:bodyPr/>
          <a:lstStyle/>
          <a:p>
            <a:pPr lvl="0"/>
            <a:r>
              <a:rPr lang="en-US" noProof="0" smtClean="0"/>
              <a:t>Click icon to add chart</a:t>
            </a:r>
            <a:endParaRPr lang="en-US" noProof="0" dirty="0" smtClean="0"/>
          </a:p>
        </p:txBody>
      </p:sp>
      <p:sp>
        <p:nvSpPr>
          <p:cNvPr id="4" name="Rectangle 8"/>
          <p:cNvSpPr>
            <a:spLocks noGrp="1" noChangeArrowheads="1"/>
          </p:cNvSpPr>
          <p:nvPr>
            <p:ph type="sldNum" sz="quarter" idx="10"/>
          </p:nvPr>
        </p:nvSpPr>
        <p:spPr>
          <a:ln/>
        </p:spPr>
        <p:txBody>
          <a:bodyPr/>
          <a:lstStyle>
            <a:lvl1pPr>
              <a:defRPr/>
            </a:lvl1pPr>
          </a:lstStyle>
          <a:p>
            <a:pPr>
              <a:defRPr/>
            </a:pPr>
            <a:fld id="{26A19C0E-70A1-499A-8A93-7D3FE396D8B5}" type="slidenum">
              <a:rPr lang="en-US">
                <a:solidFill>
                  <a:srgbClr val="000000"/>
                </a:solidFill>
              </a:rPr>
              <a:pPr>
                <a:defRPr/>
              </a:pPr>
              <a:t>‹#›</a:t>
            </a:fld>
            <a:endParaRPr lang="en-US" dirty="0">
              <a:solidFill>
                <a:srgbClr val="000000"/>
              </a:solidFill>
            </a:endParaRPr>
          </a:p>
        </p:txBody>
      </p:sp>
      <p:sp>
        <p:nvSpPr>
          <p:cNvPr id="5" name="Title Placeholder 5"/>
          <p:cNvSpPr>
            <a:spLocks noGrp="1"/>
          </p:cNvSpPr>
          <p:nvPr>
            <p:ph type="title"/>
          </p:nvPr>
        </p:nvSpPr>
        <p:spPr>
          <a:xfrm>
            <a:off x="80682" y="-1"/>
            <a:ext cx="8229600" cy="100853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p14="http://schemas.microsoft.com/office/powerpoint/2010/main" val="1311279307"/>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Only">
  <p:cSld name="1_Content">
    <p:spTree>
      <p:nvGrpSpPr>
        <p:cNvPr id="1" name=""/>
        <p:cNvGrpSpPr/>
        <p:nvPr/>
      </p:nvGrpSpPr>
      <p:grpSpPr>
        <a:xfrm>
          <a:off x="0" y="0"/>
          <a:ext cx="0" cy="0"/>
          <a:chOff x="0" y="0"/>
          <a:chExt cx="0" cy="0"/>
        </a:xfrm>
      </p:grpSpPr>
      <p:sp>
        <p:nvSpPr>
          <p:cNvPr id="2" name="Content Placeholder 1"/>
          <p:cNvSpPr>
            <a:spLocks noGrp="1"/>
          </p:cNvSpPr>
          <p:nvPr>
            <p:ph/>
          </p:nvPr>
        </p:nvSpPr>
        <p:spPr>
          <a:xfrm>
            <a:off x="0" y="0"/>
            <a:ext cx="9144000" cy="61261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942258935"/>
      </p:ext>
    </p:extLst>
  </p:cSld>
  <p:clrMapOvr>
    <a:masterClrMapping/>
  </p:clrMapOvr>
  <p:transition xmlns:p14="http://schemas.microsoft.com/office/powerpoint/2010/main"/>
</p:sldLayout>
</file>

<file path=ppt/slideLayouts/slideLayout6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a:prstGeom prst="rect">
            <a:avLst/>
          </a:prstGeom>
        </p:spPr>
        <p:txBody>
          <a:bodyPr/>
          <a:lstStyle>
            <a:lvl1pPr>
              <a:defRPr sz="3200"/>
            </a:lvl1pPr>
          </a:lstStyle>
          <a:p>
            <a:r>
              <a:rPr lang="en-US" smtClean="0"/>
              <a:t>Click to edit Master title style</a:t>
            </a:r>
            <a:endParaRPr lang="en-US" dirty="0"/>
          </a:p>
        </p:txBody>
      </p:sp>
      <p:sp>
        <p:nvSpPr>
          <p:cNvPr id="3" name="Subtitle 2"/>
          <p:cNvSpPr>
            <a:spLocks noGrp="1"/>
          </p:cNvSpPr>
          <p:nvPr>
            <p:ph type="subTitle" idx="1"/>
          </p:nvPr>
        </p:nvSpPr>
        <p:spPr>
          <a:xfrm>
            <a:off x="1371600" y="3886200"/>
            <a:ext cx="6400800" cy="1752600"/>
          </a:xfrm>
          <a:prstGeom prst="rect">
            <a:avLst/>
          </a:prstGeom>
        </p:spPr>
        <p:txBody>
          <a:bodyPr/>
          <a:lstStyle>
            <a:lvl1pPr marL="0" indent="0" algn="ctr">
              <a:buNone/>
              <a:defRPr sz="2400"/>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dirty="0"/>
          </a:p>
        </p:txBody>
      </p:sp>
      <p:sp>
        <p:nvSpPr>
          <p:cNvPr id="4" name="Rectangle 8"/>
          <p:cNvSpPr>
            <a:spLocks noGrp="1" noChangeArrowheads="1"/>
          </p:cNvSpPr>
          <p:nvPr>
            <p:ph type="sldNum" sz="quarter" idx="10"/>
          </p:nvPr>
        </p:nvSpPr>
        <p:spPr>
          <a:ln/>
        </p:spPr>
        <p:txBody>
          <a:bodyPr/>
          <a:lstStyle>
            <a:lvl1pPr>
              <a:defRPr/>
            </a:lvl1pPr>
          </a:lstStyle>
          <a:p>
            <a:pPr>
              <a:defRPr/>
            </a:pPr>
            <a:fld id="{BFD1979B-EACF-460F-A3E8-1DD9D28FAF37}"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1783302341"/>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457200" y="1600200"/>
            <a:ext cx="8229600" cy="4525963"/>
          </a:xfrm>
          <a:prstGeom prst="rect">
            <a:avLst/>
          </a:prstGeom>
        </p:spPr>
        <p:txBody>
          <a:bodyPr/>
          <a:lstStyle>
            <a:lvl1pPr>
              <a:defRPr sz="2000"/>
            </a:lvl1pPr>
            <a:lvl2pPr>
              <a:defRPr sz="20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8"/>
          <p:cNvSpPr>
            <a:spLocks noGrp="1" noChangeArrowheads="1"/>
          </p:cNvSpPr>
          <p:nvPr>
            <p:ph type="sldNum" sz="quarter" idx="10"/>
          </p:nvPr>
        </p:nvSpPr>
        <p:spPr>
          <a:ln/>
        </p:spPr>
        <p:txBody>
          <a:bodyPr/>
          <a:lstStyle>
            <a:lvl1pPr>
              <a:defRPr/>
            </a:lvl1pPr>
          </a:lstStyle>
          <a:p>
            <a:pPr>
              <a:defRPr/>
            </a:pPr>
            <a:fld id="{1558CDDA-7CFD-47DD-A480-C3E43D6A8CF6}" type="slidenum">
              <a:rPr lang="en-US">
                <a:solidFill>
                  <a:srgbClr val="000000"/>
                </a:solidFill>
              </a:rPr>
              <a:pPr>
                <a:defRPr/>
              </a:pPr>
              <a:t>‹#›</a:t>
            </a:fld>
            <a:endParaRPr lang="en-US" dirty="0">
              <a:solidFill>
                <a:srgbClr val="000000"/>
              </a:solidFill>
            </a:endParaRPr>
          </a:p>
        </p:txBody>
      </p:sp>
      <p:sp>
        <p:nvSpPr>
          <p:cNvPr id="5" name="Title Placeholder 5"/>
          <p:cNvSpPr>
            <a:spLocks noGrp="1"/>
          </p:cNvSpPr>
          <p:nvPr>
            <p:ph type="title"/>
          </p:nvPr>
        </p:nvSpPr>
        <p:spPr>
          <a:xfrm>
            <a:off x="80682" y="-1"/>
            <a:ext cx="8229600" cy="100853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p14="http://schemas.microsoft.com/office/powerpoint/2010/main" val="289490108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a:prstGeom prst="rect">
            <a:avLst/>
          </a:prstGeom>
        </p:spPr>
        <p:txBody>
          <a:bodyPr anchor="t"/>
          <a:lstStyle>
            <a:lvl1pPr algn="l">
              <a:defRPr sz="4000" b="1" cap="all"/>
            </a:lvl1pPr>
          </a:lstStyle>
          <a:p>
            <a:r>
              <a:rPr lang="en-US" smtClean="0"/>
              <a:t>Click to edit Master title style</a:t>
            </a:r>
            <a:endParaRPr lang="en-US" dirty="0"/>
          </a:p>
        </p:txBody>
      </p:sp>
      <p:sp>
        <p:nvSpPr>
          <p:cNvPr id="3" name="Text Placeholder 2"/>
          <p:cNvSpPr>
            <a:spLocks noGrp="1"/>
          </p:cNvSpPr>
          <p:nvPr>
            <p:ph type="body" idx="1"/>
          </p:nvPr>
        </p:nvSpPr>
        <p:spPr>
          <a:xfrm>
            <a:off x="722313" y="2906713"/>
            <a:ext cx="7772400" cy="1500187"/>
          </a:xfrm>
          <a:prstGeom prst="rect">
            <a:avLst/>
          </a:prstGeo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8"/>
          <p:cNvSpPr>
            <a:spLocks noGrp="1" noChangeArrowheads="1"/>
          </p:cNvSpPr>
          <p:nvPr>
            <p:ph type="sldNum" sz="quarter" idx="10"/>
          </p:nvPr>
        </p:nvSpPr>
        <p:spPr>
          <a:ln/>
        </p:spPr>
        <p:txBody>
          <a:bodyPr/>
          <a:lstStyle>
            <a:lvl1pPr>
              <a:defRPr/>
            </a:lvl1pPr>
          </a:lstStyle>
          <a:p>
            <a:pPr>
              <a:defRPr/>
            </a:pPr>
            <a:fld id="{8D2AF391-D637-40EB-B01D-D52A53DEBE2E}" type="slidenum">
              <a:rPr lang="en-US">
                <a:solidFill>
                  <a:srgbClr val="000000"/>
                </a:solidFill>
              </a:rPr>
              <a:pPr>
                <a:defRPr/>
              </a:pPr>
              <a:t>‹#›</a:t>
            </a:fld>
            <a:endParaRPr lang="en-US" dirty="0">
              <a:solidFill>
                <a:srgbClr val="000000"/>
              </a:solidFill>
            </a:endParaRPr>
          </a:p>
        </p:txBody>
      </p:sp>
      <p:sp>
        <p:nvSpPr>
          <p:cNvPr id="5" name="Title Placeholder 5"/>
          <p:cNvSpPr txBox="1">
            <a:spLocks/>
          </p:cNvSpPr>
          <p:nvPr userDrawn="1"/>
        </p:nvSpPr>
        <p:spPr>
          <a:xfrm>
            <a:off x="80682" y="-1"/>
            <a:ext cx="8229600" cy="1008530"/>
          </a:xfrm>
          <a:prstGeom prst="rect">
            <a:avLst/>
          </a:prstGeom>
        </p:spPr>
        <p:txBody>
          <a:bodyPr vert="horz" lIns="91440" tIns="45720" rIns="91440" bIns="45720" rtlCol="0" anchor="ctr">
            <a:normAutofit/>
          </a:bodyPr>
          <a:lstStyle/>
          <a:p>
            <a:pPr marL="231775" indent="-231775" fontAlgn="base">
              <a:spcBef>
                <a:spcPct val="0"/>
              </a:spcBef>
              <a:spcAft>
                <a:spcPct val="0"/>
              </a:spcAft>
              <a:defRPr/>
            </a:pPr>
            <a:endParaRPr lang="en-US" sz="2400" kern="0" dirty="0">
              <a:solidFill>
                <a:srgbClr val="FFFFFF"/>
              </a:solidFill>
              <a:latin typeface="Arial"/>
            </a:endParaRPr>
          </a:p>
        </p:txBody>
      </p:sp>
    </p:spTree>
    <p:extLst>
      <p:ext uri="{BB962C8B-B14F-4D97-AF65-F5344CB8AC3E}">
        <p14:creationId xmlns:p14="http://schemas.microsoft.com/office/powerpoint/2010/main" val="49681680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457200" y="1600200"/>
            <a:ext cx="4038600" cy="4525963"/>
          </a:xfrm>
          <a:prstGeom prst="rect">
            <a:avLst/>
          </a:prstGeom>
        </p:spPr>
        <p:txBody>
          <a:bodyPr/>
          <a:lstStyle>
            <a:lvl1pPr marL="228600" indent="-228600">
              <a:defRPr sz="2000"/>
            </a:lvl1pPr>
            <a:lvl2pPr marL="511175" indent="-228600">
              <a:buFont typeface="Wingdings" pitchFamily="2" charset="2"/>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Rectangle 8"/>
          <p:cNvSpPr>
            <a:spLocks noGrp="1" noChangeArrowheads="1"/>
          </p:cNvSpPr>
          <p:nvPr>
            <p:ph type="sldNum" sz="quarter" idx="10"/>
          </p:nvPr>
        </p:nvSpPr>
        <p:spPr>
          <a:ln/>
        </p:spPr>
        <p:txBody>
          <a:bodyPr/>
          <a:lstStyle>
            <a:lvl1pPr>
              <a:defRPr/>
            </a:lvl1pPr>
          </a:lstStyle>
          <a:p>
            <a:pPr>
              <a:defRPr/>
            </a:pPr>
            <a:fld id="{936DDBCF-8802-4B29-85D7-091E46AC652A}" type="slidenum">
              <a:rPr lang="en-US">
                <a:solidFill>
                  <a:srgbClr val="000000"/>
                </a:solidFill>
              </a:rPr>
              <a:pPr>
                <a:defRPr/>
              </a:pPr>
              <a:t>‹#›</a:t>
            </a:fld>
            <a:endParaRPr lang="en-US" dirty="0">
              <a:solidFill>
                <a:srgbClr val="000000"/>
              </a:solidFill>
            </a:endParaRPr>
          </a:p>
        </p:txBody>
      </p:sp>
      <p:sp>
        <p:nvSpPr>
          <p:cNvPr id="6" name="Content Placeholder 2"/>
          <p:cNvSpPr>
            <a:spLocks noGrp="1"/>
          </p:cNvSpPr>
          <p:nvPr>
            <p:ph sz="half" idx="11"/>
          </p:nvPr>
        </p:nvSpPr>
        <p:spPr>
          <a:xfrm>
            <a:off x="4684058" y="1618129"/>
            <a:ext cx="4038600" cy="4525963"/>
          </a:xfrm>
          <a:prstGeom prst="rect">
            <a:avLst/>
          </a:prstGeom>
        </p:spPr>
        <p:txBody>
          <a:bodyPr/>
          <a:lstStyle>
            <a:lvl1pPr marL="228600" indent="-228600">
              <a:defRPr sz="2000"/>
            </a:lvl1pPr>
            <a:lvl2pPr marL="511175" indent="-228600">
              <a:buFont typeface="Wingdings" pitchFamily="2" charset="2"/>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5"/>
          <p:cNvSpPr>
            <a:spLocks noGrp="1"/>
          </p:cNvSpPr>
          <p:nvPr>
            <p:ph type="title"/>
          </p:nvPr>
        </p:nvSpPr>
        <p:spPr>
          <a:xfrm>
            <a:off x="80682" y="-1"/>
            <a:ext cx="8229600" cy="100853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p14="http://schemas.microsoft.com/office/powerpoint/2010/main" val="1883427787"/>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457200" y="1535113"/>
            <a:ext cx="4040188" cy="639762"/>
          </a:xfrm>
          <a:prstGeom prst="rect">
            <a:avLst/>
          </a:prstGeo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5" name="Text Placeholder 4"/>
          <p:cNvSpPr>
            <a:spLocks noGrp="1"/>
          </p:cNvSpPr>
          <p:nvPr>
            <p:ph type="body" sz="quarter" idx="3"/>
          </p:nvPr>
        </p:nvSpPr>
        <p:spPr>
          <a:xfrm>
            <a:off x="4645025" y="1535113"/>
            <a:ext cx="4041775" cy="639762"/>
          </a:xfrm>
          <a:prstGeom prst="rect">
            <a:avLst/>
          </a:prstGeom>
        </p:spPr>
        <p:txBody>
          <a:bodyPr anchor="b"/>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7" name="Rectangle 8"/>
          <p:cNvSpPr>
            <a:spLocks noGrp="1" noChangeArrowheads="1"/>
          </p:cNvSpPr>
          <p:nvPr>
            <p:ph type="sldNum" sz="quarter" idx="10"/>
          </p:nvPr>
        </p:nvSpPr>
        <p:spPr>
          <a:ln/>
        </p:spPr>
        <p:txBody>
          <a:bodyPr/>
          <a:lstStyle>
            <a:lvl1pPr>
              <a:defRPr/>
            </a:lvl1pPr>
          </a:lstStyle>
          <a:p>
            <a:pPr>
              <a:defRPr/>
            </a:pPr>
            <a:fld id="{AAC37394-698D-4361-AB41-39B862FD8C36}" type="slidenum">
              <a:rPr lang="en-US">
                <a:solidFill>
                  <a:srgbClr val="000000"/>
                </a:solidFill>
              </a:rPr>
              <a:pPr>
                <a:defRPr/>
              </a:pPr>
              <a:t>‹#›</a:t>
            </a:fld>
            <a:endParaRPr lang="en-US" dirty="0">
              <a:solidFill>
                <a:srgbClr val="000000"/>
              </a:solidFill>
            </a:endParaRPr>
          </a:p>
        </p:txBody>
      </p:sp>
      <p:sp>
        <p:nvSpPr>
          <p:cNvPr id="8" name="Content Placeholder 2"/>
          <p:cNvSpPr>
            <a:spLocks noGrp="1"/>
          </p:cNvSpPr>
          <p:nvPr>
            <p:ph sz="half" idx="11" hasCustomPrompt="1"/>
          </p:nvPr>
        </p:nvSpPr>
        <p:spPr>
          <a:xfrm>
            <a:off x="457200" y="2178424"/>
            <a:ext cx="4038600" cy="3947739"/>
          </a:xfrm>
          <a:prstGeom prst="rect">
            <a:avLst/>
          </a:prstGeom>
        </p:spPr>
        <p:txBody>
          <a:bodyPr/>
          <a:lstStyle>
            <a:lvl1pPr marL="228600" indent="-228600">
              <a:defRPr sz="2000"/>
            </a:lvl1pPr>
            <a:lvl2pPr marL="511175" indent="-228600">
              <a:buFont typeface="Arial" pitchFamily="34" charset="0"/>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9" name="Content Placeholder 2"/>
          <p:cNvSpPr>
            <a:spLocks noGrp="1"/>
          </p:cNvSpPr>
          <p:nvPr>
            <p:ph sz="half" idx="12" hasCustomPrompt="1"/>
          </p:nvPr>
        </p:nvSpPr>
        <p:spPr>
          <a:xfrm>
            <a:off x="4657165" y="2196354"/>
            <a:ext cx="4038600" cy="3947739"/>
          </a:xfrm>
          <a:prstGeom prst="rect">
            <a:avLst/>
          </a:prstGeom>
        </p:spPr>
        <p:txBody>
          <a:bodyPr/>
          <a:lstStyle>
            <a:lvl1pPr marL="228600" indent="-228600">
              <a:defRPr sz="2000"/>
            </a:lvl1pPr>
            <a:lvl2pPr marL="511175" indent="-228600">
              <a:buFont typeface="Arial" pitchFamily="34" charset="0"/>
              <a:buChar char="•"/>
              <a:defRPr sz="2000"/>
            </a:lvl2pPr>
            <a:lvl3pPr marL="806450" indent="-228600">
              <a:defRPr sz="1800"/>
            </a:lvl3pPr>
            <a:lvl4pPr marL="1089025" indent="-228600">
              <a:buFont typeface="Arial" pitchFamily="34" charset="0"/>
              <a:buChar char="•"/>
              <a:defRPr sz="1600"/>
            </a:lvl4pPr>
            <a:lvl5pPr marL="1263650" indent="-228600">
              <a:buFont typeface="Arial" pitchFamily="34" charset="0"/>
              <a:buChar char="•"/>
              <a:defRPr sz="1600"/>
            </a:lvl5pPr>
            <a:lvl6pPr>
              <a:defRPr sz="1800"/>
            </a:lvl6pPr>
            <a:lvl7pPr>
              <a:defRPr sz="1800"/>
            </a:lvl7pPr>
            <a:lvl8pPr>
              <a:defRPr sz="1800"/>
            </a:lvl8pPr>
            <a:lvl9pPr>
              <a:defRPr sz="1800"/>
            </a:lvl9pPr>
          </a:lstStyle>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 name="Title Placeholder 5"/>
          <p:cNvSpPr>
            <a:spLocks noGrp="1"/>
          </p:cNvSpPr>
          <p:nvPr>
            <p:ph type="title"/>
          </p:nvPr>
        </p:nvSpPr>
        <p:spPr>
          <a:xfrm>
            <a:off x="80682" y="-1"/>
            <a:ext cx="8229600" cy="100853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p14="http://schemas.microsoft.com/office/powerpoint/2010/main" val="467380804"/>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3" name="Rectangle 8"/>
          <p:cNvSpPr>
            <a:spLocks noGrp="1" noChangeArrowheads="1"/>
          </p:cNvSpPr>
          <p:nvPr>
            <p:ph type="sldNum" sz="quarter" idx="10"/>
          </p:nvPr>
        </p:nvSpPr>
        <p:spPr>
          <a:ln/>
        </p:spPr>
        <p:txBody>
          <a:bodyPr/>
          <a:lstStyle>
            <a:lvl1pPr>
              <a:defRPr/>
            </a:lvl1pPr>
          </a:lstStyle>
          <a:p>
            <a:pPr>
              <a:defRPr/>
            </a:pPr>
            <a:fld id="{D0944D99-665D-43B5-A36B-8D0B4985ACF8}" type="slidenum">
              <a:rPr lang="en-US">
                <a:solidFill>
                  <a:srgbClr val="000000"/>
                </a:solidFill>
              </a:rPr>
              <a:pPr>
                <a:defRPr/>
              </a:pPr>
              <a:t>‹#›</a:t>
            </a:fld>
            <a:endParaRPr lang="en-US" dirty="0">
              <a:solidFill>
                <a:srgbClr val="000000"/>
              </a:solidFill>
            </a:endParaRPr>
          </a:p>
        </p:txBody>
      </p:sp>
      <p:sp>
        <p:nvSpPr>
          <p:cNvPr id="4" name="Title Placeholder 5"/>
          <p:cNvSpPr>
            <a:spLocks noGrp="1"/>
          </p:cNvSpPr>
          <p:nvPr>
            <p:ph type="title"/>
          </p:nvPr>
        </p:nvSpPr>
        <p:spPr>
          <a:xfrm>
            <a:off x="80682" y="-1"/>
            <a:ext cx="8229600" cy="100853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p14="http://schemas.microsoft.com/office/powerpoint/2010/main" val="240192917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Rectangle 8"/>
          <p:cNvSpPr>
            <a:spLocks noGrp="1" noChangeArrowheads="1"/>
          </p:cNvSpPr>
          <p:nvPr>
            <p:ph type="sldNum" sz="quarter" idx="10"/>
          </p:nvPr>
        </p:nvSpPr>
        <p:spPr>
          <a:ln/>
        </p:spPr>
        <p:txBody>
          <a:bodyPr/>
          <a:lstStyle>
            <a:lvl1pPr>
              <a:defRPr/>
            </a:lvl1pPr>
          </a:lstStyle>
          <a:p>
            <a:pPr>
              <a:defRPr/>
            </a:pPr>
            <a:fld id="{89A31C09-2C0A-4119-A886-5F6E33B0AFC9}" type="slidenum">
              <a:rPr lang="en-US">
                <a:solidFill>
                  <a:srgbClr val="000000"/>
                </a:solidFill>
              </a:rPr>
              <a:pPr>
                <a:defRPr/>
              </a:pPr>
              <a:t>‹#›</a:t>
            </a:fld>
            <a:endParaRPr lang="en-US" dirty="0">
              <a:solidFill>
                <a:srgbClr val="000000"/>
              </a:solidFill>
            </a:endParaRPr>
          </a:p>
        </p:txBody>
      </p:sp>
      <p:sp>
        <p:nvSpPr>
          <p:cNvPr id="3" name="Title Placeholder 5"/>
          <p:cNvSpPr>
            <a:spLocks noGrp="1"/>
          </p:cNvSpPr>
          <p:nvPr>
            <p:ph type="title"/>
          </p:nvPr>
        </p:nvSpPr>
        <p:spPr>
          <a:xfrm>
            <a:off x="80682" y="-1"/>
            <a:ext cx="8229600" cy="100853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p14="http://schemas.microsoft.com/office/powerpoint/2010/main" val="169030736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1452281"/>
            <a:ext cx="3008313" cy="883767"/>
          </a:xfrm>
          <a:prstGeom prst="rect">
            <a:avLst/>
          </a:prstGeo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1438835"/>
            <a:ext cx="5111750" cy="5131079"/>
          </a:xfrm>
          <a:prstGeom prst="rect">
            <a:avLst/>
          </a:prstGeom>
        </p:spPr>
        <p:txBody>
          <a:bodyPr/>
          <a:lstStyle>
            <a:lvl1pPr>
              <a:defRPr sz="2400"/>
            </a:lvl1pPr>
            <a:lvl2pPr marL="581025" indent="-285750">
              <a:buFont typeface="Arial" pitchFamily="34" charset="0"/>
              <a:buChar char="•"/>
              <a:defRPr sz="2000"/>
            </a:lvl2pPr>
            <a:lvl3pPr marL="968375" indent="-228600">
              <a:defRPr sz="2000"/>
            </a:lvl3pPr>
            <a:lvl4pPr marL="1263650" indent="-228600">
              <a:buFont typeface="Arial" pitchFamily="34" charset="0"/>
              <a:buChar char="•"/>
              <a:defRPr sz="1600"/>
            </a:lvl4pPr>
            <a:lvl5pPr marL="1492250" indent="-228600">
              <a:buFont typeface="Arial" pitchFamily="34" charset="0"/>
              <a:buChar char="•"/>
              <a:defRPr sz="16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0" y="2420471"/>
            <a:ext cx="3008313" cy="4149443"/>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8"/>
          <p:cNvSpPr>
            <a:spLocks noGrp="1" noChangeArrowheads="1"/>
          </p:cNvSpPr>
          <p:nvPr>
            <p:ph type="sldNum" sz="quarter" idx="10"/>
          </p:nvPr>
        </p:nvSpPr>
        <p:spPr>
          <a:ln/>
        </p:spPr>
        <p:txBody>
          <a:bodyPr/>
          <a:lstStyle>
            <a:lvl1pPr>
              <a:defRPr/>
            </a:lvl1pPr>
          </a:lstStyle>
          <a:p>
            <a:pPr>
              <a:defRPr/>
            </a:pPr>
            <a:fld id="{0054BA71-A52C-4C93-81C6-392152960A17}" type="slidenum">
              <a:rPr lang="en-US">
                <a:solidFill>
                  <a:srgbClr val="000000"/>
                </a:solidFill>
              </a:rPr>
              <a:pPr>
                <a:defRPr/>
              </a:pPr>
              <a:t>‹#›</a:t>
            </a:fld>
            <a:endParaRPr lang="en-US" dirty="0">
              <a:solidFill>
                <a:srgbClr val="000000"/>
              </a:solidFill>
            </a:endParaRPr>
          </a:p>
        </p:txBody>
      </p:sp>
      <p:sp>
        <p:nvSpPr>
          <p:cNvPr id="6" name="Title Placeholder 5"/>
          <p:cNvSpPr txBox="1">
            <a:spLocks/>
          </p:cNvSpPr>
          <p:nvPr userDrawn="1"/>
        </p:nvSpPr>
        <p:spPr>
          <a:xfrm>
            <a:off x="80682" y="-1"/>
            <a:ext cx="8229600" cy="1008530"/>
          </a:xfrm>
          <a:prstGeom prst="rect">
            <a:avLst/>
          </a:prstGeom>
        </p:spPr>
        <p:txBody>
          <a:bodyPr vert="horz" lIns="91440" tIns="45720" rIns="91440" bIns="45720" rtlCol="0" anchor="ctr">
            <a:normAutofit/>
          </a:bodyPr>
          <a:lstStyle/>
          <a:p>
            <a:pPr marL="231775" indent="-231775" fontAlgn="base">
              <a:spcBef>
                <a:spcPct val="0"/>
              </a:spcBef>
              <a:spcAft>
                <a:spcPct val="0"/>
              </a:spcAft>
              <a:defRPr/>
            </a:pPr>
            <a:r>
              <a:rPr lang="en-US" sz="2400" kern="0" smtClean="0">
                <a:solidFill>
                  <a:srgbClr val="FFFFFF"/>
                </a:solidFill>
                <a:latin typeface="Arial"/>
              </a:rPr>
              <a:t>Click to edit Master title style</a:t>
            </a:r>
            <a:endParaRPr lang="en-US" sz="2400" kern="0" dirty="0">
              <a:solidFill>
                <a:srgbClr val="FFFFFF"/>
              </a:solidFill>
              <a:latin typeface="Arial"/>
            </a:endParaRPr>
          </a:p>
        </p:txBody>
      </p:sp>
    </p:spTree>
    <p:extLst>
      <p:ext uri="{BB962C8B-B14F-4D97-AF65-F5344CB8AC3E}">
        <p14:creationId xmlns:p14="http://schemas.microsoft.com/office/powerpoint/2010/main" val="47736958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D18879BB-F39C-4DC6-BAA4-D75F2BCB1E44}" type="datetimeFigureOut">
              <a:rPr lang="en-US" smtClean="0">
                <a:solidFill>
                  <a:prstClr val="black">
                    <a:tint val="75000"/>
                  </a:prstClr>
                </a:solidFill>
                <a:latin typeface="Calibri"/>
              </a:rPr>
              <a:pPr/>
              <a:t>7/23/18</a:t>
            </a:fld>
            <a:endParaRPr lang="en-US">
              <a:solidFill>
                <a:prstClr val="black">
                  <a:tint val="75000"/>
                </a:prstClr>
              </a:solidFill>
              <a:latin typeface="Calibri"/>
            </a:endParaRPr>
          </a:p>
        </p:txBody>
      </p:sp>
      <p:sp>
        <p:nvSpPr>
          <p:cNvPr id="3" name="Footer Placeholder 2"/>
          <p:cNvSpPr>
            <a:spLocks noGrp="1"/>
          </p:cNvSpPr>
          <p:nvPr>
            <p:ph type="ftr" sz="quarter" idx="11"/>
          </p:nvPr>
        </p:nvSpPr>
        <p:spPr/>
        <p:txBody>
          <a:bodyPr/>
          <a:lstStyle/>
          <a:p>
            <a:endParaRPr lang="en-US">
              <a:solidFill>
                <a:prstClr val="black">
                  <a:tint val="75000"/>
                </a:prstClr>
              </a:solidFill>
              <a:latin typeface="Calibri"/>
            </a:endParaRPr>
          </a:p>
        </p:txBody>
      </p:sp>
      <p:sp>
        <p:nvSpPr>
          <p:cNvPr id="4" name="Slide Number Placeholder 3"/>
          <p:cNvSpPr>
            <a:spLocks noGrp="1"/>
          </p:cNvSpPr>
          <p:nvPr>
            <p:ph type="sldNum" sz="quarter" idx="12"/>
          </p:nvPr>
        </p:nvSpPr>
        <p:spPr/>
        <p:txBody>
          <a:bodyPr/>
          <a:lstStyle/>
          <a:p>
            <a:fld id="{F184FCD3-C2BE-43CF-903B-BF41DBAD93EA}"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129867053"/>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76800"/>
            <a:ext cx="5486400" cy="566738"/>
          </a:xfrm>
          <a:prstGeom prst="rect">
            <a:avLst/>
          </a:prstGeom>
        </p:spPr>
        <p:txBody>
          <a:bodyPr anchor="b"/>
          <a:lstStyle>
            <a:lvl1pPr algn="l">
              <a:defRPr sz="2000" b="1">
                <a:latin typeface="+mj-lt"/>
              </a:defRPr>
            </a:lvl1pPr>
          </a:lstStyle>
          <a:p>
            <a:r>
              <a:rPr lang="en-US" smtClean="0"/>
              <a:t>Click to edit Master title style</a:t>
            </a:r>
            <a:endParaRPr lang="en-US" dirty="0"/>
          </a:p>
        </p:txBody>
      </p:sp>
      <p:sp>
        <p:nvSpPr>
          <p:cNvPr id="3" name="Picture Placeholder 2"/>
          <p:cNvSpPr>
            <a:spLocks noGrp="1"/>
          </p:cNvSpPr>
          <p:nvPr>
            <p:ph type="pic" idx="1"/>
          </p:nvPr>
        </p:nvSpPr>
        <p:spPr>
          <a:xfrm>
            <a:off x="1792288" y="1358899"/>
            <a:ext cx="5486400" cy="3368675"/>
          </a:xfrm>
          <a:prstGeom prst="rect">
            <a:avLst/>
          </a:prstGeo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smtClean="0"/>
              <a:t>Click icon to add picture</a:t>
            </a:r>
            <a:endParaRPr lang="en-US" noProof="0" dirty="0" smtClean="0"/>
          </a:p>
        </p:txBody>
      </p:sp>
      <p:sp>
        <p:nvSpPr>
          <p:cNvPr id="4" name="Text Placeholder 3"/>
          <p:cNvSpPr>
            <a:spLocks noGrp="1"/>
          </p:cNvSpPr>
          <p:nvPr>
            <p:ph type="body" sz="half" idx="2"/>
          </p:nvPr>
        </p:nvSpPr>
        <p:spPr>
          <a:xfrm>
            <a:off x="1792288" y="5494338"/>
            <a:ext cx="5486400" cy="804862"/>
          </a:xfrm>
          <a:prstGeom prst="rect">
            <a:avLst/>
          </a:prstGeo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8"/>
          <p:cNvSpPr>
            <a:spLocks noGrp="1" noChangeArrowheads="1"/>
          </p:cNvSpPr>
          <p:nvPr>
            <p:ph type="sldNum" sz="quarter" idx="10"/>
          </p:nvPr>
        </p:nvSpPr>
        <p:spPr>
          <a:ln/>
        </p:spPr>
        <p:txBody>
          <a:bodyPr/>
          <a:lstStyle>
            <a:lvl1pPr>
              <a:defRPr/>
            </a:lvl1pPr>
          </a:lstStyle>
          <a:p>
            <a:pPr>
              <a:defRPr/>
            </a:pPr>
            <a:fld id="{E5809930-0FD2-4619-8B3B-F973C93ED975}"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99235422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Title and Vertical Text">
    <p:spTree>
      <p:nvGrpSpPr>
        <p:cNvPr id="1" name=""/>
        <p:cNvGrpSpPr/>
        <p:nvPr/>
      </p:nvGrpSpPr>
      <p:grpSpPr>
        <a:xfrm>
          <a:off x="0" y="0"/>
          <a:ext cx="0" cy="0"/>
          <a:chOff x="0" y="0"/>
          <a:chExt cx="0" cy="0"/>
        </a:xfrm>
      </p:grpSpPr>
      <p:sp>
        <p:nvSpPr>
          <p:cNvPr id="3" name="Vertical Text Placeholder 2"/>
          <p:cNvSpPr>
            <a:spLocks noGrp="1"/>
          </p:cNvSpPr>
          <p:nvPr>
            <p:ph type="body" orient="vert" idx="1"/>
          </p:nvPr>
        </p:nvSpPr>
        <p:spPr>
          <a:xfrm>
            <a:off x="457200" y="1600200"/>
            <a:ext cx="8229600" cy="4525963"/>
          </a:xfrm>
          <a:prstGeom prst="rect">
            <a:avLst/>
          </a:prstGeom>
        </p:spPr>
        <p:txBody>
          <a:bodyPr vert="eaVert"/>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8"/>
          <p:cNvSpPr>
            <a:spLocks noGrp="1" noChangeArrowheads="1"/>
          </p:cNvSpPr>
          <p:nvPr>
            <p:ph type="sldNum" sz="quarter" idx="10"/>
          </p:nvPr>
        </p:nvSpPr>
        <p:spPr>
          <a:ln/>
        </p:spPr>
        <p:txBody>
          <a:bodyPr/>
          <a:lstStyle>
            <a:lvl1pPr>
              <a:defRPr/>
            </a:lvl1pPr>
          </a:lstStyle>
          <a:p>
            <a:pPr>
              <a:defRPr/>
            </a:pPr>
            <a:fld id="{35563F22-7F08-4DCB-B9B3-4A1468AF7CF3}"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35022074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1371600"/>
            <a:ext cx="2057400" cy="4754563"/>
          </a:xfrm>
          <a:prstGeom prst="rect">
            <a:avLst/>
          </a:prstGeom>
        </p:spPr>
        <p:txBody>
          <a:bodyPr vert="eaVert"/>
          <a:lstStyle>
            <a:lvl1pPr>
              <a:defRPr sz="3200"/>
            </a:lvl1p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57200" y="1371600"/>
            <a:ext cx="6019800" cy="4754563"/>
          </a:xfrm>
          <a:prstGeom prst="rect">
            <a:avLst/>
          </a:prstGeom>
        </p:spPr>
        <p:txBody>
          <a:bodyPr vert="eaVert"/>
          <a:lstStyle>
            <a:lvl1pPr>
              <a:defRPr sz="2400"/>
            </a:lvl1pPr>
            <a:lvl2pPr>
              <a:defRPr sz="2400"/>
            </a:lvl2pPr>
            <a:lvl3pPr>
              <a:defRPr sz="2400"/>
            </a:lvl3pPr>
            <a:lvl4pPr>
              <a:defRPr sz="2400"/>
            </a:lvl4pPr>
            <a:lvl5pPr>
              <a:defRPr sz="24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Rectangle 8"/>
          <p:cNvSpPr>
            <a:spLocks noGrp="1" noChangeArrowheads="1"/>
          </p:cNvSpPr>
          <p:nvPr>
            <p:ph type="sldNum" sz="quarter" idx="10"/>
          </p:nvPr>
        </p:nvSpPr>
        <p:spPr>
          <a:ln/>
        </p:spPr>
        <p:txBody>
          <a:bodyPr/>
          <a:lstStyle>
            <a:lvl1pPr>
              <a:defRPr/>
            </a:lvl1pPr>
          </a:lstStyle>
          <a:p>
            <a:pPr>
              <a:defRPr/>
            </a:pPr>
            <a:fld id="{FF6BA7EB-A81B-4CC1-8827-A248A26ADF25}" type="slidenum">
              <a:rPr lang="en-US">
                <a:solidFill>
                  <a:srgbClr val="000000"/>
                </a:solidFill>
              </a:rPr>
              <a:pPr>
                <a:defRPr/>
              </a:pPr>
              <a:t>‹#›</a:t>
            </a:fld>
            <a:endParaRPr lang="en-US" dirty="0">
              <a:solidFill>
                <a:srgbClr val="000000"/>
              </a:solidFill>
            </a:endParaRPr>
          </a:p>
        </p:txBody>
      </p:sp>
    </p:spTree>
    <p:extLst>
      <p:ext uri="{BB962C8B-B14F-4D97-AF65-F5344CB8AC3E}">
        <p14:creationId xmlns:p14="http://schemas.microsoft.com/office/powerpoint/2010/main" val="209754275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57200" y="1498600"/>
            <a:ext cx="8229600" cy="4627563"/>
          </a:xfrm>
          <a:prstGeom prst="rect">
            <a:avLst/>
          </a:prstGeom>
        </p:spPr>
        <p:txBody>
          <a:bodyPr/>
          <a:lstStyle>
            <a:lvl1pPr>
              <a:defRPr sz="2000"/>
            </a:lvl1pPr>
            <a:lvl2pPr>
              <a:defRPr sz="2000"/>
            </a:lvl2pPr>
            <a:lvl3pPr>
              <a:defRPr sz="16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3" name="Rectangle 8"/>
          <p:cNvSpPr>
            <a:spLocks noGrp="1" noChangeArrowheads="1"/>
          </p:cNvSpPr>
          <p:nvPr>
            <p:ph type="sldNum" sz="quarter" idx="10"/>
          </p:nvPr>
        </p:nvSpPr>
        <p:spPr>
          <a:ln/>
        </p:spPr>
        <p:txBody>
          <a:bodyPr/>
          <a:lstStyle>
            <a:lvl1pPr>
              <a:defRPr/>
            </a:lvl1pPr>
          </a:lstStyle>
          <a:p>
            <a:pPr>
              <a:defRPr/>
            </a:pPr>
            <a:fld id="{31F46A52-DF43-48CC-852C-556A345D48DE}" type="slidenum">
              <a:rPr lang="en-US">
                <a:solidFill>
                  <a:srgbClr val="000000"/>
                </a:solidFill>
              </a:rPr>
              <a:pPr>
                <a:defRPr/>
              </a:pPr>
              <a:t>‹#›</a:t>
            </a:fld>
            <a:endParaRPr lang="en-US" dirty="0">
              <a:solidFill>
                <a:srgbClr val="000000"/>
              </a:solidFill>
            </a:endParaRPr>
          </a:p>
        </p:txBody>
      </p:sp>
      <p:sp>
        <p:nvSpPr>
          <p:cNvPr id="4" name="Title Placeholder 5"/>
          <p:cNvSpPr>
            <a:spLocks noGrp="1"/>
          </p:cNvSpPr>
          <p:nvPr>
            <p:ph type="title" idx="11"/>
          </p:nvPr>
        </p:nvSpPr>
        <p:spPr>
          <a:xfrm>
            <a:off x="80682" y="-1"/>
            <a:ext cx="8229600" cy="100853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p14="http://schemas.microsoft.com/office/powerpoint/2010/main" val="1441054869"/>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Title and Chart">
    <p:spTree>
      <p:nvGrpSpPr>
        <p:cNvPr id="1" name=""/>
        <p:cNvGrpSpPr/>
        <p:nvPr/>
      </p:nvGrpSpPr>
      <p:grpSpPr>
        <a:xfrm>
          <a:off x="0" y="0"/>
          <a:ext cx="0" cy="0"/>
          <a:chOff x="0" y="0"/>
          <a:chExt cx="0" cy="0"/>
        </a:xfrm>
      </p:grpSpPr>
      <p:sp>
        <p:nvSpPr>
          <p:cNvPr id="3" name="Chart Placeholder 2"/>
          <p:cNvSpPr>
            <a:spLocks noGrp="1"/>
          </p:cNvSpPr>
          <p:nvPr>
            <p:ph type="chart" idx="1"/>
          </p:nvPr>
        </p:nvSpPr>
        <p:spPr>
          <a:xfrm>
            <a:off x="457200" y="1600200"/>
            <a:ext cx="8229600" cy="4525963"/>
          </a:xfrm>
          <a:prstGeom prst="rect">
            <a:avLst/>
          </a:prstGeom>
        </p:spPr>
        <p:txBody>
          <a:bodyPr/>
          <a:lstStyle/>
          <a:p>
            <a:pPr lvl="0"/>
            <a:r>
              <a:rPr lang="en-US" noProof="0" smtClean="0"/>
              <a:t>Click icon to add chart</a:t>
            </a:r>
            <a:endParaRPr lang="en-US" noProof="0" dirty="0" smtClean="0"/>
          </a:p>
        </p:txBody>
      </p:sp>
      <p:sp>
        <p:nvSpPr>
          <p:cNvPr id="4" name="Rectangle 8"/>
          <p:cNvSpPr>
            <a:spLocks noGrp="1" noChangeArrowheads="1"/>
          </p:cNvSpPr>
          <p:nvPr>
            <p:ph type="sldNum" sz="quarter" idx="10"/>
          </p:nvPr>
        </p:nvSpPr>
        <p:spPr>
          <a:ln/>
        </p:spPr>
        <p:txBody>
          <a:bodyPr/>
          <a:lstStyle>
            <a:lvl1pPr>
              <a:defRPr/>
            </a:lvl1pPr>
          </a:lstStyle>
          <a:p>
            <a:pPr>
              <a:defRPr/>
            </a:pPr>
            <a:fld id="{26A19C0E-70A1-499A-8A93-7D3FE396D8B5}" type="slidenum">
              <a:rPr lang="en-US">
                <a:solidFill>
                  <a:srgbClr val="000000"/>
                </a:solidFill>
              </a:rPr>
              <a:pPr>
                <a:defRPr/>
              </a:pPr>
              <a:t>‹#›</a:t>
            </a:fld>
            <a:endParaRPr lang="en-US" dirty="0">
              <a:solidFill>
                <a:srgbClr val="000000"/>
              </a:solidFill>
            </a:endParaRPr>
          </a:p>
        </p:txBody>
      </p:sp>
      <p:sp>
        <p:nvSpPr>
          <p:cNvPr id="5" name="Title Placeholder 5"/>
          <p:cNvSpPr>
            <a:spLocks noGrp="1"/>
          </p:cNvSpPr>
          <p:nvPr>
            <p:ph type="title"/>
          </p:nvPr>
        </p:nvSpPr>
        <p:spPr>
          <a:xfrm>
            <a:off x="80682" y="-1"/>
            <a:ext cx="8229600" cy="100853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p14="http://schemas.microsoft.com/office/powerpoint/2010/main" val="239177320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Only">
  <p:cSld name="1_Content">
    <p:spTree>
      <p:nvGrpSpPr>
        <p:cNvPr id="1" name=""/>
        <p:cNvGrpSpPr/>
        <p:nvPr/>
      </p:nvGrpSpPr>
      <p:grpSpPr>
        <a:xfrm>
          <a:off x="0" y="0"/>
          <a:ext cx="0" cy="0"/>
          <a:chOff x="0" y="0"/>
          <a:chExt cx="0" cy="0"/>
        </a:xfrm>
      </p:grpSpPr>
      <p:sp>
        <p:nvSpPr>
          <p:cNvPr id="2" name="Content Placeholder 1"/>
          <p:cNvSpPr>
            <a:spLocks noGrp="1"/>
          </p:cNvSpPr>
          <p:nvPr>
            <p:ph/>
          </p:nvPr>
        </p:nvSpPr>
        <p:spPr>
          <a:xfrm>
            <a:off x="0" y="0"/>
            <a:ext cx="9144000" cy="6126163"/>
          </a:xfrm>
          <a:prstGeom prst="rect">
            <a:avLst/>
          </a:prstGeo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Tree>
    <p:extLst>
      <p:ext uri="{BB962C8B-B14F-4D97-AF65-F5344CB8AC3E}">
        <p14:creationId xmlns:p14="http://schemas.microsoft.com/office/powerpoint/2010/main" val="1325949966"/>
      </p:ext>
    </p:extLst>
  </p:cSld>
  <p:clrMapOvr>
    <a:masterClrMapping/>
  </p:clrMapOvr>
  <p:transition xmlns:p14="http://schemas.microsoft.com/office/powerpoint/2010/main"/>
</p:sldLayout>
</file>

<file path=ppt/slideLayouts/slideLayout7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B01F9CA3-105E-4857-9057-6DB6197DA786}" type="datetimeFigureOut">
              <a:rPr lang="en-US" smtClean="0">
                <a:solidFill>
                  <a:prstClr val="black">
                    <a:tint val="75000"/>
                  </a:prstClr>
                </a:solidFill>
                <a:latin typeface="Calibri"/>
              </a:rPr>
              <a:pPr/>
              <a:t>7/26/18</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7F5CE407-6216-4202-80E4-A30DC2F709B2}"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67971137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01F9CA3-105E-4857-9057-6DB6197DA786}" type="datetimeFigureOut">
              <a:rPr lang="en-US" smtClean="0">
                <a:solidFill>
                  <a:prstClr val="black">
                    <a:tint val="75000"/>
                  </a:prstClr>
                </a:solidFill>
                <a:latin typeface="Calibri"/>
              </a:rPr>
              <a:pPr/>
              <a:t>7/26/18</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7F5CE407-6216-4202-80E4-A30DC2F709B2}"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64648945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01F9CA3-105E-4857-9057-6DB6197DA786}" type="datetimeFigureOut">
              <a:rPr lang="en-US" smtClean="0">
                <a:solidFill>
                  <a:prstClr val="black">
                    <a:tint val="75000"/>
                  </a:prstClr>
                </a:solidFill>
                <a:latin typeface="Calibri"/>
              </a:rPr>
              <a:pPr/>
              <a:t>7/26/18</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7F5CE407-6216-4202-80E4-A30DC2F709B2}"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853893"/>
      </p:ext>
    </p:extLst>
  </p:cSld>
  <p:clrMapOvr>
    <a:masterClrMapping/>
  </p:clrMapOvr>
  <p:hf hdr="0" ftr="0" dt="0"/>
</p:sldLayout>
</file>

<file path=ppt/slideLayouts/slideLayout7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B01F9CA3-105E-4857-9057-6DB6197DA786}" type="datetimeFigureOut">
              <a:rPr lang="en-US" smtClean="0">
                <a:solidFill>
                  <a:prstClr val="black">
                    <a:tint val="75000"/>
                  </a:prstClr>
                </a:solidFill>
                <a:latin typeface="Calibri"/>
              </a:rPr>
              <a:pPr/>
              <a:t>7/26/18</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7F5CE407-6216-4202-80E4-A30DC2F709B2}"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22502231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18879BB-F39C-4DC6-BAA4-D75F2BCB1E44}" type="datetimeFigureOut">
              <a:rPr lang="en-US" smtClean="0">
                <a:solidFill>
                  <a:prstClr val="black">
                    <a:tint val="75000"/>
                  </a:prstClr>
                </a:solidFill>
                <a:latin typeface="Calibri"/>
              </a:rPr>
              <a:pPr/>
              <a:t>7/23/18</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F184FCD3-C2BE-43CF-903B-BF41DBAD93EA}"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037093496"/>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B01F9CA3-105E-4857-9057-6DB6197DA786}" type="datetimeFigureOut">
              <a:rPr lang="en-US" smtClean="0">
                <a:solidFill>
                  <a:prstClr val="black">
                    <a:tint val="75000"/>
                  </a:prstClr>
                </a:solidFill>
                <a:latin typeface="Calibri"/>
              </a:rPr>
              <a:pPr/>
              <a:t>7/26/18</a:t>
            </a:fld>
            <a:endParaRPr lang="en-US">
              <a:solidFill>
                <a:prstClr val="black">
                  <a:tint val="75000"/>
                </a:prstClr>
              </a:solidFill>
              <a:latin typeface="Calibri"/>
            </a:endParaRPr>
          </a:p>
        </p:txBody>
      </p:sp>
      <p:sp>
        <p:nvSpPr>
          <p:cNvPr id="8" name="Footer Placeholder 7"/>
          <p:cNvSpPr>
            <a:spLocks noGrp="1"/>
          </p:cNvSpPr>
          <p:nvPr>
            <p:ph type="ftr" sz="quarter" idx="11"/>
          </p:nvPr>
        </p:nvSpPr>
        <p:spPr/>
        <p:txBody>
          <a:bodyPr/>
          <a:lstStyle/>
          <a:p>
            <a:endParaRPr lang="en-US">
              <a:solidFill>
                <a:prstClr val="black">
                  <a:tint val="75000"/>
                </a:prstClr>
              </a:solidFill>
              <a:latin typeface="Calibri"/>
            </a:endParaRPr>
          </a:p>
        </p:txBody>
      </p:sp>
      <p:sp>
        <p:nvSpPr>
          <p:cNvPr id="9" name="Slide Number Placeholder 8"/>
          <p:cNvSpPr>
            <a:spLocks noGrp="1"/>
          </p:cNvSpPr>
          <p:nvPr>
            <p:ph type="sldNum" sz="quarter" idx="12"/>
          </p:nvPr>
        </p:nvSpPr>
        <p:spPr/>
        <p:txBody>
          <a:bodyPr/>
          <a:lstStyle/>
          <a:p>
            <a:fld id="{7F5CE407-6216-4202-80E4-A30DC2F709B2}"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522915782"/>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B01F9CA3-105E-4857-9057-6DB6197DA786}" type="datetimeFigureOut">
              <a:rPr lang="en-US" smtClean="0">
                <a:solidFill>
                  <a:prstClr val="black">
                    <a:tint val="75000"/>
                  </a:prstClr>
                </a:solidFill>
                <a:latin typeface="Calibri"/>
              </a:rPr>
              <a:pPr/>
              <a:t>7/26/18</a:t>
            </a:fld>
            <a:endParaRPr lang="en-US">
              <a:solidFill>
                <a:prstClr val="black">
                  <a:tint val="75000"/>
                </a:prstClr>
              </a:solidFill>
              <a:latin typeface="Calibri"/>
            </a:endParaRPr>
          </a:p>
        </p:txBody>
      </p:sp>
      <p:sp>
        <p:nvSpPr>
          <p:cNvPr id="4" name="Footer Placeholder 3"/>
          <p:cNvSpPr>
            <a:spLocks noGrp="1"/>
          </p:cNvSpPr>
          <p:nvPr>
            <p:ph type="ftr" sz="quarter" idx="11"/>
          </p:nvPr>
        </p:nvSpPr>
        <p:spPr/>
        <p:txBody>
          <a:bodyPr/>
          <a:lstStyle/>
          <a:p>
            <a:endParaRPr lang="en-US">
              <a:solidFill>
                <a:prstClr val="black">
                  <a:tint val="75000"/>
                </a:prstClr>
              </a:solidFill>
              <a:latin typeface="Calibri"/>
            </a:endParaRPr>
          </a:p>
        </p:txBody>
      </p:sp>
      <p:sp>
        <p:nvSpPr>
          <p:cNvPr id="5" name="Slide Number Placeholder 4"/>
          <p:cNvSpPr>
            <a:spLocks noGrp="1"/>
          </p:cNvSpPr>
          <p:nvPr>
            <p:ph type="sldNum" sz="quarter" idx="12"/>
          </p:nvPr>
        </p:nvSpPr>
        <p:spPr/>
        <p:txBody>
          <a:bodyPr/>
          <a:lstStyle/>
          <a:p>
            <a:fld id="{7F5CE407-6216-4202-80E4-A30DC2F709B2}"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409073899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7FDD017A-E32F-4955-AFD9-02DC63A9777B}" type="datetimeFigureOut">
              <a:rPr lang="en-US" smtClean="0">
                <a:solidFill>
                  <a:prstClr val="black">
                    <a:tint val="75000"/>
                  </a:prstClr>
                </a:solidFill>
                <a:latin typeface="Calibri"/>
              </a:rPr>
              <a:pPr/>
              <a:t>7/26/18</a:t>
            </a:fld>
            <a:endParaRPr lang="en-US">
              <a:solidFill>
                <a:prstClr val="black">
                  <a:tint val="75000"/>
                </a:prstClr>
              </a:solidFill>
              <a:latin typeface="Calibri"/>
            </a:endParaRPr>
          </a:p>
        </p:txBody>
      </p:sp>
      <p:sp>
        <p:nvSpPr>
          <p:cNvPr id="3" name="Footer Placeholder 2"/>
          <p:cNvSpPr>
            <a:spLocks noGrp="1"/>
          </p:cNvSpPr>
          <p:nvPr>
            <p:ph type="ftr" sz="quarter" idx="11"/>
          </p:nvPr>
        </p:nvSpPr>
        <p:spPr/>
        <p:txBody>
          <a:bodyPr/>
          <a:lstStyle/>
          <a:p>
            <a:endParaRPr lang="en-US">
              <a:solidFill>
                <a:prstClr val="black">
                  <a:tint val="75000"/>
                </a:prstClr>
              </a:solidFill>
              <a:latin typeface="Calibri"/>
            </a:endParaRPr>
          </a:p>
        </p:txBody>
      </p:sp>
      <p:sp>
        <p:nvSpPr>
          <p:cNvPr id="4" name="Slide Number Placeholder 3"/>
          <p:cNvSpPr>
            <a:spLocks noGrp="1"/>
          </p:cNvSpPr>
          <p:nvPr>
            <p:ph type="sldNum" sz="quarter" idx="12"/>
          </p:nvPr>
        </p:nvSpPr>
        <p:spPr/>
        <p:txBody>
          <a:bodyPr/>
          <a:lstStyle/>
          <a:p>
            <a:fld id="{089E3EBF-9994-473A-8A2C-2C245420A7E8}"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007748215"/>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01F9CA3-105E-4857-9057-6DB6197DA786}" type="datetimeFigureOut">
              <a:rPr lang="en-US" smtClean="0">
                <a:solidFill>
                  <a:prstClr val="black">
                    <a:tint val="75000"/>
                  </a:prstClr>
                </a:solidFill>
                <a:latin typeface="Calibri"/>
              </a:rPr>
              <a:pPr/>
              <a:t>7/26/18</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7F5CE407-6216-4202-80E4-A30DC2F709B2}"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434525285"/>
      </p:ext>
    </p:extLst>
  </p:cSld>
  <p:clrMapOvr>
    <a:masterClrMapping/>
  </p:clrMapOvr>
  <p:hf hdr="0" ftr="0" dt="0"/>
</p:sldLayout>
</file>

<file path=ppt/slideLayouts/slideLayout8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01F9CA3-105E-4857-9057-6DB6197DA786}" type="datetimeFigureOut">
              <a:rPr lang="en-US" smtClean="0">
                <a:solidFill>
                  <a:prstClr val="black">
                    <a:tint val="75000"/>
                  </a:prstClr>
                </a:solidFill>
                <a:latin typeface="Calibri"/>
              </a:rPr>
              <a:pPr/>
              <a:t>7/26/18</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7F5CE407-6216-4202-80E4-A30DC2F709B2}"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2066592638"/>
      </p:ext>
    </p:extLst>
  </p:cSld>
  <p:clrMapOvr>
    <a:masterClrMapping/>
  </p:clrMapOvr>
  <p:hf hdr="0" ftr="0" dt="0"/>
</p:sldLayout>
</file>

<file path=ppt/slideLayouts/slideLayout8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01F9CA3-105E-4857-9057-6DB6197DA786}" type="datetimeFigureOut">
              <a:rPr lang="en-US" smtClean="0">
                <a:solidFill>
                  <a:prstClr val="black">
                    <a:tint val="75000"/>
                  </a:prstClr>
                </a:solidFill>
                <a:latin typeface="Calibri"/>
              </a:rPr>
              <a:pPr/>
              <a:t>7/26/18</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7F5CE407-6216-4202-80E4-A30DC2F709B2}"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351287762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B01F9CA3-105E-4857-9057-6DB6197DA786}" type="datetimeFigureOut">
              <a:rPr lang="en-US" smtClean="0">
                <a:solidFill>
                  <a:prstClr val="black">
                    <a:tint val="75000"/>
                  </a:prstClr>
                </a:solidFill>
                <a:latin typeface="Calibri"/>
              </a:rPr>
              <a:pPr/>
              <a:t>7/26/18</a:t>
            </a:fld>
            <a:endParaRPr lang="en-US">
              <a:solidFill>
                <a:prstClr val="black">
                  <a:tint val="75000"/>
                </a:prstClr>
              </a:solidFill>
              <a:latin typeface="Calibri"/>
            </a:endParaRPr>
          </a:p>
        </p:txBody>
      </p:sp>
      <p:sp>
        <p:nvSpPr>
          <p:cNvPr id="5" name="Footer Placeholder 4"/>
          <p:cNvSpPr>
            <a:spLocks noGrp="1"/>
          </p:cNvSpPr>
          <p:nvPr>
            <p:ph type="ftr" sz="quarter" idx="11"/>
          </p:nvPr>
        </p:nvSpPr>
        <p:spPr/>
        <p:txBody>
          <a:bodyPr/>
          <a:lstStyle/>
          <a:p>
            <a:endParaRPr lang="en-US">
              <a:solidFill>
                <a:prstClr val="black">
                  <a:tint val="75000"/>
                </a:prstClr>
              </a:solidFill>
              <a:latin typeface="Calibri"/>
            </a:endParaRPr>
          </a:p>
        </p:txBody>
      </p:sp>
      <p:sp>
        <p:nvSpPr>
          <p:cNvPr id="6" name="Slide Number Placeholder 5"/>
          <p:cNvSpPr>
            <a:spLocks noGrp="1"/>
          </p:cNvSpPr>
          <p:nvPr>
            <p:ph type="sldNum" sz="quarter" idx="12"/>
          </p:nvPr>
        </p:nvSpPr>
        <p:spPr/>
        <p:txBody>
          <a:bodyPr/>
          <a:lstStyle/>
          <a:p>
            <a:fld id="{7F5CE407-6216-4202-80E4-A30DC2F709B2}"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112625959"/>
      </p:ext>
    </p:extLst>
  </p:cSld>
  <p:clrMapOvr>
    <a:masterClrMapping/>
  </p:clrMapOvr>
  <p:hf hdr="0" ftr="0" dt="0"/>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Drag picture to placeholder or click icon to add</a:t>
            </a:r>
            <a:endParaRPr lang="en-US"/>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D18879BB-F39C-4DC6-BAA4-D75F2BCB1E44}" type="datetimeFigureOut">
              <a:rPr lang="en-US" smtClean="0">
                <a:solidFill>
                  <a:prstClr val="black">
                    <a:tint val="75000"/>
                  </a:prstClr>
                </a:solidFill>
                <a:latin typeface="Calibri"/>
              </a:rPr>
              <a:pPr/>
              <a:t>7/23/18</a:t>
            </a:fld>
            <a:endParaRPr lang="en-US">
              <a:solidFill>
                <a:prstClr val="black">
                  <a:tint val="75000"/>
                </a:prstClr>
              </a:solidFill>
              <a:latin typeface="Calibri"/>
            </a:endParaRPr>
          </a:p>
        </p:txBody>
      </p:sp>
      <p:sp>
        <p:nvSpPr>
          <p:cNvPr id="6" name="Footer Placeholder 5"/>
          <p:cNvSpPr>
            <a:spLocks noGrp="1"/>
          </p:cNvSpPr>
          <p:nvPr>
            <p:ph type="ftr" sz="quarter" idx="11"/>
          </p:nvPr>
        </p:nvSpPr>
        <p:spPr/>
        <p:txBody>
          <a:bodyPr/>
          <a:lstStyle/>
          <a:p>
            <a:endParaRPr lang="en-US">
              <a:solidFill>
                <a:prstClr val="black">
                  <a:tint val="75000"/>
                </a:prstClr>
              </a:solidFill>
              <a:latin typeface="Calibri"/>
            </a:endParaRPr>
          </a:p>
        </p:txBody>
      </p:sp>
      <p:sp>
        <p:nvSpPr>
          <p:cNvPr id="7" name="Slide Number Placeholder 6"/>
          <p:cNvSpPr>
            <a:spLocks noGrp="1"/>
          </p:cNvSpPr>
          <p:nvPr>
            <p:ph type="sldNum" sz="quarter" idx="12"/>
          </p:nvPr>
        </p:nvSpPr>
        <p:spPr/>
        <p:txBody>
          <a:bodyPr/>
          <a:lstStyle/>
          <a:p>
            <a:fld id="{F184FCD3-C2BE-43CF-903B-BF41DBAD93EA}"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714993142"/>
      </p:ext>
    </p:extLst>
  </p:cSld>
  <p:clrMapOvr>
    <a:masterClrMapping/>
  </p:clrMapOvr>
</p:sldLayout>
</file>

<file path=ppt/slideMasters/_rels/slideMaster1.xml.rels><?xml version="1.0" encoding="UTF-8" standalone="yes"?>
<Relationships xmlns="http://schemas.openxmlformats.org/package/2006/relationships"><Relationship Id="rId9" Type="http://schemas.openxmlformats.org/officeDocument/2006/relationships/slideLayout" Target="../slideLayouts/slideLayout9.xml"/><Relationship Id="rId20" Type="http://schemas.openxmlformats.org/officeDocument/2006/relationships/theme" Target="../theme/theme1.xml"/><Relationship Id="rId10" Type="http://schemas.openxmlformats.org/officeDocument/2006/relationships/slideLayout" Target="../slideLayouts/slideLayout10.xml"/><Relationship Id="rId11" Type="http://schemas.openxmlformats.org/officeDocument/2006/relationships/slideLayout" Target="../slideLayouts/slideLayout11.xml"/><Relationship Id="rId12" Type="http://schemas.openxmlformats.org/officeDocument/2006/relationships/slideLayout" Target="../slideLayouts/slideLayout12.xml"/><Relationship Id="rId13" Type="http://schemas.openxmlformats.org/officeDocument/2006/relationships/slideLayout" Target="../slideLayouts/slideLayout13.xml"/><Relationship Id="rId14" Type="http://schemas.openxmlformats.org/officeDocument/2006/relationships/slideLayout" Target="../slideLayouts/slideLayout14.xml"/><Relationship Id="rId15" Type="http://schemas.openxmlformats.org/officeDocument/2006/relationships/slideLayout" Target="../slideLayouts/slideLayout15.xml"/><Relationship Id="rId16" Type="http://schemas.openxmlformats.org/officeDocument/2006/relationships/slideLayout" Target="../slideLayouts/slideLayout16.xml"/><Relationship Id="rId17" Type="http://schemas.openxmlformats.org/officeDocument/2006/relationships/slideLayout" Target="../slideLayouts/slideLayout17.xml"/><Relationship Id="rId18" Type="http://schemas.openxmlformats.org/officeDocument/2006/relationships/slideLayout" Target="../slideLayouts/slideLayout18.xml"/><Relationship Id="rId19" Type="http://schemas.openxmlformats.org/officeDocument/2006/relationships/slideLayout" Target="../slideLayouts/slideLayout19.xml"/><Relationship Id="rId1" Type="http://schemas.openxmlformats.org/officeDocument/2006/relationships/slideLayout" Target="../slideLayouts/slideLayout1.xml"/><Relationship Id="rId2" Type="http://schemas.openxmlformats.org/officeDocument/2006/relationships/slideLayout" Target="../slideLayouts/slideLayout2.xml"/><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s>
</file>

<file path=ppt/slideMasters/_rels/slideMaster2.xml.rels><?xml version="1.0" encoding="UTF-8" standalone="yes"?>
<Relationships xmlns="http://schemas.openxmlformats.org/package/2006/relationships"><Relationship Id="rId11" Type="http://schemas.openxmlformats.org/officeDocument/2006/relationships/image" Target="../media/image2.emf"/><Relationship Id="rId12" Type="http://schemas.openxmlformats.org/officeDocument/2006/relationships/image" Target="../media/image3.emf"/><Relationship Id="rId1" Type="http://schemas.openxmlformats.org/officeDocument/2006/relationships/slideLayout" Target="../slideLayouts/slideLayout20.xml"/><Relationship Id="rId2" Type="http://schemas.openxmlformats.org/officeDocument/2006/relationships/slideLayout" Target="../slideLayouts/slideLayout21.xml"/><Relationship Id="rId3" Type="http://schemas.openxmlformats.org/officeDocument/2006/relationships/slideLayout" Target="../slideLayouts/slideLayout22.xml"/><Relationship Id="rId4" Type="http://schemas.openxmlformats.org/officeDocument/2006/relationships/slideLayout" Target="../slideLayouts/slideLayout23.xml"/><Relationship Id="rId5" Type="http://schemas.openxmlformats.org/officeDocument/2006/relationships/slideLayout" Target="../slideLayouts/slideLayout24.xml"/><Relationship Id="rId6" Type="http://schemas.openxmlformats.org/officeDocument/2006/relationships/theme" Target="../theme/theme2.xml"/><Relationship Id="rId7" Type="http://schemas.openxmlformats.org/officeDocument/2006/relationships/vmlDrawing" Target="../drawings/vmlDrawing1.vml"/><Relationship Id="rId8" Type="http://schemas.openxmlformats.org/officeDocument/2006/relationships/tags" Target="../tags/tag1.xml"/><Relationship Id="rId9" Type="http://schemas.openxmlformats.org/officeDocument/2006/relationships/oleObject" Target="../embeddings/oleObject1.bin"/><Relationship Id="rId10" Type="http://schemas.openxmlformats.org/officeDocument/2006/relationships/image" Target="../media/image1.emf"/></Relationships>
</file>

<file path=ppt/slideMasters/_rels/slideMaster3.xml.rels><?xml version="1.0" encoding="UTF-8" standalone="yes"?>
<Relationships xmlns="http://schemas.openxmlformats.org/package/2006/relationships"><Relationship Id="rId11" Type="http://schemas.openxmlformats.org/officeDocument/2006/relationships/image" Target="../media/image2.emf"/><Relationship Id="rId12" Type="http://schemas.openxmlformats.org/officeDocument/2006/relationships/image" Target="../media/image3.emf"/><Relationship Id="rId1" Type="http://schemas.openxmlformats.org/officeDocument/2006/relationships/slideLayout" Target="../slideLayouts/slideLayout25.xml"/><Relationship Id="rId2" Type="http://schemas.openxmlformats.org/officeDocument/2006/relationships/slideLayout" Target="../slideLayouts/slideLayout26.xml"/><Relationship Id="rId3" Type="http://schemas.openxmlformats.org/officeDocument/2006/relationships/slideLayout" Target="../slideLayouts/slideLayout27.xml"/><Relationship Id="rId4" Type="http://schemas.openxmlformats.org/officeDocument/2006/relationships/slideLayout" Target="../slideLayouts/slideLayout28.xml"/><Relationship Id="rId5" Type="http://schemas.openxmlformats.org/officeDocument/2006/relationships/slideLayout" Target="../slideLayouts/slideLayout29.xml"/><Relationship Id="rId6" Type="http://schemas.openxmlformats.org/officeDocument/2006/relationships/theme" Target="../theme/theme3.xml"/><Relationship Id="rId7" Type="http://schemas.openxmlformats.org/officeDocument/2006/relationships/vmlDrawing" Target="../drawings/vmlDrawing7.vml"/><Relationship Id="rId8" Type="http://schemas.openxmlformats.org/officeDocument/2006/relationships/tags" Target="../tags/tag7.xml"/><Relationship Id="rId9" Type="http://schemas.openxmlformats.org/officeDocument/2006/relationships/oleObject" Target="../embeddings/oleObject7.bin"/><Relationship Id="rId10" Type="http://schemas.openxmlformats.org/officeDocument/2006/relationships/image" Target="../media/image1.emf"/></Relationships>
</file>

<file path=ppt/slideMasters/_rels/slideMaster4.xml.rels><?xml version="1.0" encoding="UTF-8" standalone="yes"?>
<Relationships xmlns="http://schemas.openxmlformats.org/package/2006/relationships"><Relationship Id="rId11" Type="http://schemas.openxmlformats.org/officeDocument/2006/relationships/image" Target="../media/image2.emf"/><Relationship Id="rId12" Type="http://schemas.openxmlformats.org/officeDocument/2006/relationships/image" Target="../media/image3.emf"/><Relationship Id="rId1" Type="http://schemas.openxmlformats.org/officeDocument/2006/relationships/slideLayout" Target="../slideLayouts/slideLayout30.xml"/><Relationship Id="rId2" Type="http://schemas.openxmlformats.org/officeDocument/2006/relationships/slideLayout" Target="../slideLayouts/slideLayout31.xml"/><Relationship Id="rId3" Type="http://schemas.openxmlformats.org/officeDocument/2006/relationships/slideLayout" Target="../slideLayouts/slideLayout32.xml"/><Relationship Id="rId4" Type="http://schemas.openxmlformats.org/officeDocument/2006/relationships/slideLayout" Target="../slideLayouts/slideLayout33.xml"/><Relationship Id="rId5" Type="http://schemas.openxmlformats.org/officeDocument/2006/relationships/slideLayout" Target="../slideLayouts/slideLayout34.xml"/><Relationship Id="rId6" Type="http://schemas.openxmlformats.org/officeDocument/2006/relationships/theme" Target="../theme/theme4.xml"/><Relationship Id="rId7" Type="http://schemas.openxmlformats.org/officeDocument/2006/relationships/vmlDrawing" Target="../drawings/vmlDrawing13.vml"/><Relationship Id="rId8" Type="http://schemas.openxmlformats.org/officeDocument/2006/relationships/tags" Target="../tags/tag13.xml"/><Relationship Id="rId9" Type="http://schemas.openxmlformats.org/officeDocument/2006/relationships/oleObject" Target="../embeddings/oleObject13.bin"/><Relationship Id="rId10" Type="http://schemas.openxmlformats.org/officeDocument/2006/relationships/image" Target="../media/image1.emf"/></Relationships>
</file>

<file path=ppt/slideMasters/_rels/slideMaster5.xml.rels><?xml version="1.0" encoding="UTF-8" standalone="yes"?>
<Relationships xmlns="http://schemas.openxmlformats.org/package/2006/relationships"><Relationship Id="rId11" Type="http://schemas.openxmlformats.org/officeDocument/2006/relationships/slideLayout" Target="../slideLayouts/slideLayout45.xml"/><Relationship Id="rId12" Type="http://schemas.openxmlformats.org/officeDocument/2006/relationships/slideLayout" Target="../slideLayouts/slideLayout46.xml"/><Relationship Id="rId13" Type="http://schemas.openxmlformats.org/officeDocument/2006/relationships/slideLayout" Target="../slideLayouts/slideLayout47.xml"/><Relationship Id="rId14" Type="http://schemas.openxmlformats.org/officeDocument/2006/relationships/theme" Target="../theme/theme5.xml"/><Relationship Id="rId1" Type="http://schemas.openxmlformats.org/officeDocument/2006/relationships/slideLayout" Target="../slideLayouts/slideLayout35.xml"/><Relationship Id="rId2" Type="http://schemas.openxmlformats.org/officeDocument/2006/relationships/slideLayout" Target="../slideLayouts/slideLayout36.xml"/><Relationship Id="rId3" Type="http://schemas.openxmlformats.org/officeDocument/2006/relationships/slideLayout" Target="../slideLayouts/slideLayout37.xml"/><Relationship Id="rId4" Type="http://schemas.openxmlformats.org/officeDocument/2006/relationships/slideLayout" Target="../slideLayouts/slideLayout38.xml"/><Relationship Id="rId5" Type="http://schemas.openxmlformats.org/officeDocument/2006/relationships/slideLayout" Target="../slideLayouts/slideLayout39.xml"/><Relationship Id="rId6" Type="http://schemas.openxmlformats.org/officeDocument/2006/relationships/slideLayout" Target="../slideLayouts/slideLayout40.xml"/><Relationship Id="rId7" Type="http://schemas.openxmlformats.org/officeDocument/2006/relationships/slideLayout" Target="../slideLayouts/slideLayout41.xml"/><Relationship Id="rId8" Type="http://schemas.openxmlformats.org/officeDocument/2006/relationships/slideLayout" Target="../slideLayouts/slideLayout42.xml"/><Relationship Id="rId9" Type="http://schemas.openxmlformats.org/officeDocument/2006/relationships/slideLayout" Target="../slideLayouts/slideLayout43.xml"/><Relationship Id="rId10" Type="http://schemas.openxmlformats.org/officeDocument/2006/relationships/slideLayout" Target="../slideLayouts/slideLayout44.xml"/></Relationships>
</file>

<file path=ppt/slideMasters/_rels/slideMaster6.xml.rels><?xml version="1.0" encoding="UTF-8" standalone="yes"?>
<Relationships xmlns="http://schemas.openxmlformats.org/package/2006/relationships"><Relationship Id="rId11" Type="http://schemas.openxmlformats.org/officeDocument/2006/relationships/slideLayout" Target="../slideLayouts/slideLayout58.xml"/><Relationship Id="rId12" Type="http://schemas.openxmlformats.org/officeDocument/2006/relationships/slideLayout" Target="../slideLayouts/slideLayout59.xml"/><Relationship Id="rId13" Type="http://schemas.openxmlformats.org/officeDocument/2006/relationships/slideLayout" Target="../slideLayouts/slideLayout60.xml"/><Relationship Id="rId14" Type="http://schemas.openxmlformats.org/officeDocument/2006/relationships/slideLayout" Target="../slideLayouts/slideLayout61.xml"/><Relationship Id="rId15" Type="http://schemas.openxmlformats.org/officeDocument/2006/relationships/theme" Target="../theme/theme6.xml"/><Relationship Id="rId1" Type="http://schemas.openxmlformats.org/officeDocument/2006/relationships/slideLayout" Target="../slideLayouts/slideLayout48.xml"/><Relationship Id="rId2" Type="http://schemas.openxmlformats.org/officeDocument/2006/relationships/slideLayout" Target="../slideLayouts/slideLayout49.xml"/><Relationship Id="rId3" Type="http://schemas.openxmlformats.org/officeDocument/2006/relationships/slideLayout" Target="../slideLayouts/slideLayout50.xml"/><Relationship Id="rId4" Type="http://schemas.openxmlformats.org/officeDocument/2006/relationships/slideLayout" Target="../slideLayouts/slideLayout51.xml"/><Relationship Id="rId5" Type="http://schemas.openxmlformats.org/officeDocument/2006/relationships/slideLayout" Target="../slideLayouts/slideLayout52.xml"/><Relationship Id="rId6" Type="http://schemas.openxmlformats.org/officeDocument/2006/relationships/slideLayout" Target="../slideLayouts/slideLayout53.xml"/><Relationship Id="rId7" Type="http://schemas.openxmlformats.org/officeDocument/2006/relationships/slideLayout" Target="../slideLayouts/slideLayout54.xml"/><Relationship Id="rId8" Type="http://schemas.openxmlformats.org/officeDocument/2006/relationships/slideLayout" Target="../slideLayouts/slideLayout55.xml"/><Relationship Id="rId9" Type="http://schemas.openxmlformats.org/officeDocument/2006/relationships/slideLayout" Target="../slideLayouts/slideLayout56.xml"/><Relationship Id="rId10" Type="http://schemas.openxmlformats.org/officeDocument/2006/relationships/slideLayout" Target="../slideLayouts/slideLayout57.xml"/></Relationships>
</file>

<file path=ppt/slideMasters/_rels/slideMaster7.xml.rels><?xml version="1.0" encoding="UTF-8" standalone="yes"?>
<Relationships xmlns="http://schemas.openxmlformats.org/package/2006/relationships"><Relationship Id="rId11" Type="http://schemas.openxmlformats.org/officeDocument/2006/relationships/slideLayout" Target="../slideLayouts/slideLayout72.xml"/><Relationship Id="rId12" Type="http://schemas.openxmlformats.org/officeDocument/2006/relationships/slideLayout" Target="../slideLayouts/slideLayout73.xml"/><Relationship Id="rId13" Type="http://schemas.openxmlformats.org/officeDocument/2006/relationships/slideLayout" Target="../slideLayouts/slideLayout74.xml"/><Relationship Id="rId14" Type="http://schemas.openxmlformats.org/officeDocument/2006/relationships/slideLayout" Target="../slideLayouts/slideLayout75.xml"/><Relationship Id="rId15" Type="http://schemas.openxmlformats.org/officeDocument/2006/relationships/theme" Target="../theme/theme7.xml"/><Relationship Id="rId1" Type="http://schemas.openxmlformats.org/officeDocument/2006/relationships/slideLayout" Target="../slideLayouts/slideLayout62.xml"/><Relationship Id="rId2" Type="http://schemas.openxmlformats.org/officeDocument/2006/relationships/slideLayout" Target="../slideLayouts/slideLayout63.xml"/><Relationship Id="rId3" Type="http://schemas.openxmlformats.org/officeDocument/2006/relationships/slideLayout" Target="../slideLayouts/slideLayout64.xml"/><Relationship Id="rId4" Type="http://schemas.openxmlformats.org/officeDocument/2006/relationships/slideLayout" Target="../slideLayouts/slideLayout65.xml"/><Relationship Id="rId5" Type="http://schemas.openxmlformats.org/officeDocument/2006/relationships/slideLayout" Target="../slideLayouts/slideLayout66.xml"/><Relationship Id="rId6" Type="http://schemas.openxmlformats.org/officeDocument/2006/relationships/slideLayout" Target="../slideLayouts/slideLayout67.xml"/><Relationship Id="rId7" Type="http://schemas.openxmlformats.org/officeDocument/2006/relationships/slideLayout" Target="../slideLayouts/slideLayout68.xml"/><Relationship Id="rId8" Type="http://schemas.openxmlformats.org/officeDocument/2006/relationships/slideLayout" Target="../slideLayouts/slideLayout69.xml"/><Relationship Id="rId9" Type="http://schemas.openxmlformats.org/officeDocument/2006/relationships/slideLayout" Target="../slideLayouts/slideLayout70.xml"/><Relationship Id="rId10" Type="http://schemas.openxmlformats.org/officeDocument/2006/relationships/slideLayout" Target="../slideLayouts/slideLayout71.xml"/></Relationships>
</file>

<file path=ppt/slideMasters/_rels/slideMaster8.xml.rels><?xml version="1.0" encoding="UTF-8" standalone="yes"?>
<Relationships xmlns="http://schemas.openxmlformats.org/package/2006/relationships"><Relationship Id="rId11" Type="http://schemas.openxmlformats.org/officeDocument/2006/relationships/slideLayout" Target="../slideLayouts/slideLayout86.xml"/><Relationship Id="rId12" Type="http://schemas.openxmlformats.org/officeDocument/2006/relationships/theme" Target="../theme/theme8.xml"/><Relationship Id="rId1" Type="http://schemas.openxmlformats.org/officeDocument/2006/relationships/slideLayout" Target="../slideLayouts/slideLayout76.xml"/><Relationship Id="rId2" Type="http://schemas.openxmlformats.org/officeDocument/2006/relationships/slideLayout" Target="../slideLayouts/slideLayout77.xml"/><Relationship Id="rId3" Type="http://schemas.openxmlformats.org/officeDocument/2006/relationships/slideLayout" Target="../slideLayouts/slideLayout78.xml"/><Relationship Id="rId4" Type="http://schemas.openxmlformats.org/officeDocument/2006/relationships/slideLayout" Target="../slideLayouts/slideLayout79.xml"/><Relationship Id="rId5" Type="http://schemas.openxmlformats.org/officeDocument/2006/relationships/slideLayout" Target="../slideLayouts/slideLayout80.xml"/><Relationship Id="rId6" Type="http://schemas.openxmlformats.org/officeDocument/2006/relationships/slideLayout" Target="../slideLayouts/slideLayout81.xml"/><Relationship Id="rId7" Type="http://schemas.openxmlformats.org/officeDocument/2006/relationships/slideLayout" Target="../slideLayouts/slideLayout82.xml"/><Relationship Id="rId8" Type="http://schemas.openxmlformats.org/officeDocument/2006/relationships/slideLayout" Target="../slideLayouts/slideLayout83.xml"/><Relationship Id="rId9" Type="http://schemas.openxmlformats.org/officeDocument/2006/relationships/slideLayout" Target="../slideLayouts/slideLayout84.xml"/><Relationship Id="rId10" Type="http://schemas.openxmlformats.org/officeDocument/2006/relationships/slideLayout" Target="../slideLayouts/slideLayout8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D18879BB-F39C-4DC6-BAA4-D75F2BCB1E44}" type="datetimeFigureOut">
              <a:rPr lang="en-US" smtClean="0">
                <a:solidFill>
                  <a:prstClr val="black">
                    <a:tint val="75000"/>
                  </a:prstClr>
                </a:solidFill>
                <a:latin typeface="Calibri"/>
              </a:rPr>
              <a:pPr/>
              <a:t>7/23/18</a:t>
            </a:fld>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F184FCD3-C2BE-43CF-903B-BF41DBAD93EA}" type="slidenum">
              <a:rPr lang="en-US" smtClean="0">
                <a:solidFill>
                  <a:prstClr val="black">
                    <a:tint val="75000"/>
                  </a:prstClr>
                </a:solidFill>
                <a:latin typeface="Calibri"/>
              </a:rPr>
              <a:pPr/>
              <a:t>‹#›</a:t>
            </a:fld>
            <a:endParaRPr lang="en-US">
              <a:solidFill>
                <a:prstClr val="black">
                  <a:tint val="75000"/>
                </a:prstClr>
              </a:solidFill>
              <a:latin typeface="Calibri"/>
            </a:endParaRPr>
          </a:p>
        </p:txBody>
      </p:sp>
    </p:spTree>
    <p:extLst>
      <p:ext uri="{BB962C8B-B14F-4D97-AF65-F5344CB8AC3E}">
        <p14:creationId xmlns:p14="http://schemas.microsoft.com/office/powerpoint/2010/main" val="553771372"/>
      </p:ext>
    </p:extLst>
  </p:cSld>
  <p:clrMap bg1="lt1" tx1="dk1" bg2="lt2" tx2="dk2" accent1="accent1" accent2="accent2" accent3="accent3" accent4="accent4" accent5="accent5" accent6="accent6" hlink="hlink" folHlink="folHlink"/>
  <p:sldLayoutIdLst>
    <p:sldLayoutId id="2147483706" r:id="rId1"/>
    <p:sldLayoutId id="2147483707" r:id="rId2"/>
    <p:sldLayoutId id="2147483708" r:id="rId3"/>
    <p:sldLayoutId id="2147483709" r:id="rId4"/>
    <p:sldLayoutId id="2147483710" r:id="rId5"/>
    <p:sldLayoutId id="2147483711" r:id="rId6"/>
    <p:sldLayoutId id="2147483712" r:id="rId7"/>
    <p:sldLayoutId id="2147483713" r:id="rId8"/>
    <p:sldLayoutId id="2147483714" r:id="rId9"/>
    <p:sldLayoutId id="2147483715" r:id="rId10"/>
    <p:sldLayoutId id="2147483716" r:id="rId11"/>
    <p:sldLayoutId id="2147483663" r:id="rId12"/>
    <p:sldLayoutId id="2147483665" r:id="rId13"/>
    <p:sldLayoutId id="2147483666" r:id="rId14"/>
    <p:sldLayoutId id="2147483667" r:id="rId15"/>
    <p:sldLayoutId id="2147483668" r:id="rId16"/>
    <p:sldLayoutId id="2147483671" r:id="rId17"/>
    <p:sldLayoutId id="2147483673" r:id="rId18"/>
    <p:sldLayoutId id="2147483674" r:id="rId19"/>
  </p:sldLayoutIdLst>
  <p:txStyles>
    <p:titleStyle>
      <a:lvl1pPr algn="ctr" defTabSz="9144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8"/>
            </p:custDataLst>
            <p:extLst>
              <p:ext uri="{D42A27DB-BD31-4B8C-83A1-F6EECF244321}">
                <p14:modId xmlns:p14="http://schemas.microsoft.com/office/powerpoint/2010/main" val="3038198562"/>
              </p:ext>
            </p:extLst>
          </p:nvPr>
        </p:nvGraphicFramePr>
        <p:xfrm>
          <a:off x="1465" y="1589"/>
          <a:ext cx="1465" cy="1587"/>
        </p:xfrm>
        <a:graphic>
          <a:graphicData uri="http://schemas.openxmlformats.org/presentationml/2006/ole">
            <mc:AlternateContent xmlns:mc="http://schemas.openxmlformats.org/markup-compatibility/2006">
              <mc:Choice xmlns:v="urn:schemas-microsoft-com:vml" Requires="v">
                <p:oleObj spid="_x0000_s66129"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465"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7" descr="Bandeau Haut rouge.emf"/>
          <p:cNvPicPr>
            <a:picLocks/>
          </p:cNvPicPr>
          <p:nvPr userDrawn="1"/>
        </p:nvPicPr>
        <p:blipFill>
          <a:blip r:embed="rId11" cstate="print"/>
          <a:srcRect l="397" r="624"/>
          <a:stretch>
            <a:fillRect/>
          </a:stretch>
        </p:blipFill>
        <p:spPr>
          <a:xfrm>
            <a:off x="0" y="-7951"/>
            <a:ext cx="9144000" cy="572112"/>
          </a:xfrm>
          <a:prstGeom prst="rect">
            <a:avLst/>
          </a:prstGeom>
        </p:spPr>
      </p:pic>
      <p:pic>
        <p:nvPicPr>
          <p:cNvPr id="11" name="Picture 10" descr="Bandeau Bas bleu.emf"/>
          <p:cNvPicPr>
            <a:picLocks/>
          </p:cNvPicPr>
          <p:nvPr userDrawn="1"/>
        </p:nvPicPr>
        <p:blipFill>
          <a:blip r:embed="rId12" cstate="print"/>
          <a:srcRect l="775" r="712" b="6657"/>
          <a:stretch>
            <a:fillRect/>
          </a:stretch>
        </p:blipFill>
        <p:spPr>
          <a:xfrm>
            <a:off x="0" y="6419981"/>
            <a:ext cx="9144000" cy="445970"/>
          </a:xfrm>
          <a:prstGeom prst="rect">
            <a:avLst/>
          </a:prstGeom>
        </p:spPr>
      </p:pic>
      <p:sp>
        <p:nvSpPr>
          <p:cNvPr id="1026" name="Title Placeholder 1"/>
          <p:cNvSpPr>
            <a:spLocks noGrp="1"/>
          </p:cNvSpPr>
          <p:nvPr>
            <p:ph type="title"/>
          </p:nvPr>
        </p:nvSpPr>
        <p:spPr bwMode="auto">
          <a:xfrm>
            <a:off x="422031" y="328896"/>
            <a:ext cx="8301404" cy="831850"/>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422031" y="1508125"/>
            <a:ext cx="8301404" cy="45910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endParaRPr lang="en-US" dirty="0" smtClean="0"/>
          </a:p>
          <a:p>
            <a:pPr lvl="1"/>
            <a:r>
              <a:rPr lang="en-US" smtClean="0"/>
              <a:t>Second level</a:t>
            </a:r>
            <a:endParaRPr lang="en-US" dirty="0" smtClean="0"/>
          </a:p>
          <a:p>
            <a:pPr lvl="2"/>
            <a:r>
              <a:rPr lang="en-US" dirty="0" smtClean="0"/>
              <a:t>Third level</a:t>
            </a:r>
          </a:p>
          <a:p>
            <a:pPr lvl="3"/>
            <a:r>
              <a:rPr lang="en-US" dirty="0" smtClean="0"/>
              <a:t>Fourth level</a:t>
            </a:r>
          </a:p>
          <a:p>
            <a:pPr lvl="4"/>
            <a:r>
              <a:rPr lang="en-US" dirty="0" smtClean="0"/>
              <a:t>Fifth level</a:t>
            </a:r>
          </a:p>
        </p:txBody>
      </p:sp>
      <p:sp>
        <p:nvSpPr>
          <p:cNvPr id="7" name="FooterSimple"/>
          <p:cNvSpPr>
            <a:spLocks noChangeArrowheads="1"/>
          </p:cNvSpPr>
          <p:nvPr/>
        </p:nvSpPr>
        <p:spPr bwMode="auto">
          <a:xfrm>
            <a:off x="422031" y="6744489"/>
            <a:ext cx="1916077" cy="107722"/>
          </a:xfrm>
          <a:prstGeom prst="rect">
            <a:avLst/>
          </a:prstGeom>
          <a:noFill/>
          <a:ln w="25400" algn="ctr">
            <a:noFill/>
            <a:miter lim="800000"/>
            <a:headEnd/>
            <a:tailEnd/>
          </a:ln>
        </p:spPr>
        <p:txBody>
          <a:bodyPr wrap="none" lIns="0" tIns="0" rIns="0" bIns="0" anchor="ctr">
            <a:spAutoFit/>
          </a:bodyPr>
          <a:lstStyle/>
          <a:p>
            <a:pPr fontAlgn="base">
              <a:spcBef>
                <a:spcPct val="0"/>
              </a:spcBef>
              <a:spcAft>
                <a:spcPct val="0"/>
              </a:spcAft>
              <a:defRPr/>
            </a:pPr>
            <a:r>
              <a:rPr lang="en-US" sz="700" smtClean="0">
                <a:solidFill>
                  <a:srgbClr val="E2E2E2"/>
                </a:solidFill>
                <a:latin typeface="Calibri"/>
                <a:sym typeface="Calibri"/>
              </a:rPr>
              <a:t>UNITAID Key Performance Indicators-EB 26-v10.pptx</a:t>
            </a:r>
            <a:endParaRPr lang="en-US" sz="700" dirty="0">
              <a:solidFill>
                <a:srgbClr val="E2E2E2"/>
              </a:solidFill>
              <a:latin typeface="Calibri"/>
              <a:sym typeface="Calibri"/>
            </a:endParaRPr>
          </a:p>
        </p:txBody>
      </p:sp>
      <p:sp>
        <p:nvSpPr>
          <p:cNvPr id="10" name="Slide Number Placeholder 5"/>
          <p:cNvSpPr txBox="1">
            <a:spLocks/>
          </p:cNvSpPr>
          <p:nvPr userDrawn="1"/>
        </p:nvSpPr>
        <p:spPr>
          <a:xfrm>
            <a:off x="422031" y="6631791"/>
            <a:ext cx="175846" cy="133350"/>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algn="l">
              <a:defRPr/>
            </a:pPr>
            <a:fld id="{314D992F-7007-473D-9CAC-8B17A67E3C5E}" type="slidenum">
              <a:rPr lang="en-US" smtClean="0">
                <a:solidFill>
                  <a:srgbClr val="FFFFFF"/>
                </a:solidFill>
                <a:latin typeface="Calibri"/>
              </a:rPr>
              <a:pPr algn="l">
                <a:defRPr/>
              </a:pPr>
              <a:t>‹#›</a:t>
            </a:fld>
            <a:endParaRPr lang="en-US" dirty="0">
              <a:solidFill>
                <a:srgbClr val="FFFFFF"/>
              </a:solidFill>
              <a:latin typeface="Calibri"/>
            </a:endParaRPr>
          </a:p>
        </p:txBody>
      </p:sp>
    </p:spTree>
    <p:extLst>
      <p:ext uri="{BB962C8B-B14F-4D97-AF65-F5344CB8AC3E}">
        <p14:creationId xmlns:p14="http://schemas.microsoft.com/office/powerpoint/2010/main" val="4050933345"/>
      </p:ext>
    </p:extLst>
  </p:cSld>
  <p:clrMap bg1="lt1" tx1="dk1" bg2="lt2" tx2="dk2" accent1="accent1" accent2="accent2" accent3="accent3" accent4="accent4" accent5="accent5" accent6="accent6" hlink="hlink" folHlink="folHlink"/>
  <p:sldLayoutIdLst>
    <p:sldLayoutId id="2147483718" r:id="rId1"/>
    <p:sldLayoutId id="2147483720" r:id="rId2"/>
    <p:sldLayoutId id="2147483721" r:id="rId3"/>
    <p:sldLayoutId id="2147483722" r:id="rId4"/>
    <p:sldLayoutId id="2147483723" r:id="rId5"/>
  </p:sldLayoutIdLst>
  <p:hf hdr="0" ftr="0" dt="0"/>
  <p:txStyles>
    <p:titleStyle>
      <a:lvl1pPr algn="l" rtl="0" eaLnBrk="0" fontAlgn="base" hangingPunct="0">
        <a:spcBef>
          <a:spcPct val="0"/>
        </a:spcBef>
        <a:spcAft>
          <a:spcPct val="0"/>
        </a:spcAft>
        <a:defRPr sz="2400" b="1" kern="1200">
          <a:solidFill>
            <a:srgbClr val="AD172B"/>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defRPr>
      </a:lvl2pPr>
      <a:lvl3pPr algn="l" rtl="0" eaLnBrk="0" fontAlgn="base" hangingPunct="0">
        <a:spcBef>
          <a:spcPct val="0"/>
        </a:spcBef>
        <a:spcAft>
          <a:spcPct val="0"/>
        </a:spcAft>
        <a:defRPr sz="2400" b="1">
          <a:solidFill>
            <a:schemeClr val="tx2"/>
          </a:solidFill>
          <a:latin typeface="Arial" charset="0"/>
        </a:defRPr>
      </a:lvl3pPr>
      <a:lvl4pPr algn="l" rtl="0" eaLnBrk="0" fontAlgn="base" hangingPunct="0">
        <a:spcBef>
          <a:spcPct val="0"/>
        </a:spcBef>
        <a:spcAft>
          <a:spcPct val="0"/>
        </a:spcAft>
        <a:defRPr sz="2400" b="1">
          <a:solidFill>
            <a:schemeClr val="tx2"/>
          </a:solidFill>
          <a:latin typeface="Arial" charset="0"/>
        </a:defRPr>
      </a:lvl4pPr>
      <a:lvl5pPr algn="l" rtl="0" eaLnBrk="0" fontAlgn="base" hangingPunct="0">
        <a:spcBef>
          <a:spcPct val="0"/>
        </a:spcBef>
        <a:spcAft>
          <a:spcPct val="0"/>
        </a:spcAft>
        <a:defRPr sz="2400" b="1">
          <a:solidFill>
            <a:schemeClr val="tx2"/>
          </a:solidFill>
          <a:latin typeface="Arial" charset="0"/>
        </a:defRPr>
      </a:lvl5pPr>
      <a:lvl6pPr marL="457200" algn="l" rtl="0" fontAlgn="base">
        <a:spcBef>
          <a:spcPct val="0"/>
        </a:spcBef>
        <a:spcAft>
          <a:spcPct val="0"/>
        </a:spcAft>
        <a:defRPr sz="2400" b="1">
          <a:solidFill>
            <a:schemeClr val="tx2"/>
          </a:solidFill>
          <a:latin typeface="Arial" charset="0"/>
        </a:defRPr>
      </a:lvl6pPr>
      <a:lvl7pPr marL="914400" algn="l" rtl="0" fontAlgn="base">
        <a:spcBef>
          <a:spcPct val="0"/>
        </a:spcBef>
        <a:spcAft>
          <a:spcPct val="0"/>
        </a:spcAft>
        <a:defRPr sz="2400" b="1">
          <a:solidFill>
            <a:schemeClr val="tx2"/>
          </a:solidFill>
          <a:latin typeface="Arial" charset="0"/>
        </a:defRPr>
      </a:lvl7pPr>
      <a:lvl8pPr marL="1371600" algn="l" rtl="0" fontAlgn="base">
        <a:spcBef>
          <a:spcPct val="0"/>
        </a:spcBef>
        <a:spcAft>
          <a:spcPct val="0"/>
        </a:spcAft>
        <a:defRPr sz="2400" b="1">
          <a:solidFill>
            <a:schemeClr val="tx2"/>
          </a:solidFill>
          <a:latin typeface="Arial" charset="0"/>
        </a:defRPr>
      </a:lvl8pPr>
      <a:lvl9pPr marL="1828800" algn="l" rtl="0" fontAlgn="base">
        <a:spcBef>
          <a:spcPct val="0"/>
        </a:spcBef>
        <a:spcAft>
          <a:spcPct val="0"/>
        </a:spcAft>
        <a:defRPr sz="2400" b="1">
          <a:solidFill>
            <a:schemeClr val="tx2"/>
          </a:solidFill>
          <a:latin typeface="Arial" charset="0"/>
        </a:defRPr>
      </a:lvl9pPr>
    </p:titleStyle>
    <p:bodyStyle>
      <a:lvl1pPr marL="0" indent="0" algn="l" rtl="0" eaLnBrk="0" fontAlgn="base" hangingPunct="0">
        <a:spcBef>
          <a:spcPct val="20000"/>
        </a:spcBef>
        <a:spcAft>
          <a:spcPct val="0"/>
        </a:spcAft>
        <a:buClr>
          <a:schemeClr val="tx2"/>
        </a:buClr>
        <a:defRPr sz="1600" b="1" kern="1200">
          <a:solidFill>
            <a:schemeClr val="tx1"/>
          </a:solidFill>
          <a:latin typeface="+mn-lt"/>
          <a:ea typeface="+mn-ea"/>
          <a:cs typeface="+mn-cs"/>
        </a:defRPr>
      </a:lvl1pPr>
      <a:lvl2pPr marL="457200" indent="-228600" algn="l" rtl="0" eaLnBrk="0" fontAlgn="base" hangingPunct="0">
        <a:spcBef>
          <a:spcPct val="20000"/>
        </a:spcBef>
        <a:spcAft>
          <a:spcPct val="0"/>
        </a:spcAft>
        <a:buClr>
          <a:schemeClr val="tx2"/>
        </a:buClr>
        <a:buFont typeface="Arial" pitchFamily="34" charset="0"/>
        <a:buChar char="•"/>
        <a:defRPr sz="1600" kern="1200">
          <a:solidFill>
            <a:schemeClr val="tx1"/>
          </a:solidFill>
          <a:latin typeface="+mn-lt"/>
          <a:ea typeface="+mn-ea"/>
          <a:cs typeface="+mn-cs"/>
        </a:defRPr>
      </a:lvl2pPr>
      <a:lvl3pPr marL="914400" indent="-228600" algn="l" rtl="0" eaLnBrk="0" fontAlgn="base" hangingPunct="0">
        <a:spcBef>
          <a:spcPct val="20000"/>
        </a:spcBef>
        <a:spcAft>
          <a:spcPct val="0"/>
        </a:spcAft>
        <a:buClr>
          <a:schemeClr val="tx2"/>
        </a:buClr>
        <a:buFont typeface="Arial" pitchFamily="34" charset="0"/>
        <a:buChar char="–"/>
        <a:defRPr sz="1600" kern="1200">
          <a:solidFill>
            <a:schemeClr val="tx1"/>
          </a:solidFill>
          <a:latin typeface="+mn-lt"/>
          <a:ea typeface="+mn-ea"/>
          <a:cs typeface="+mn-cs"/>
        </a:defRPr>
      </a:lvl3pPr>
      <a:lvl4pPr marL="1376363" indent="-231775" algn="l" rtl="0" eaLnBrk="0" fontAlgn="base" hangingPunct="0">
        <a:spcBef>
          <a:spcPct val="20000"/>
        </a:spcBef>
        <a:spcAft>
          <a:spcPct val="0"/>
        </a:spcAft>
        <a:buClr>
          <a:schemeClr val="tx2"/>
        </a:buClr>
        <a:buFont typeface="Arial" pitchFamily="34" charset="0"/>
        <a:buChar char="–"/>
        <a:defRPr sz="1600" kern="1200">
          <a:solidFill>
            <a:schemeClr val="tx1"/>
          </a:solidFill>
          <a:latin typeface="+mn-lt"/>
          <a:ea typeface="+mn-ea"/>
          <a:cs typeface="+mn-cs"/>
        </a:defRPr>
      </a:lvl4pPr>
      <a:lvl5pPr marL="2058988" indent="-230188" algn="l" rtl="0" eaLnBrk="0" fontAlgn="base" hangingPunct="0">
        <a:spcBef>
          <a:spcPct val="20000"/>
        </a:spcBef>
        <a:spcAft>
          <a:spcPct val="0"/>
        </a:spcAft>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8"/>
            </p:custDataLst>
            <p:extLst>
              <p:ext uri="{D42A27DB-BD31-4B8C-83A1-F6EECF244321}">
                <p14:modId xmlns:p14="http://schemas.microsoft.com/office/powerpoint/2010/main" val="1210893066"/>
              </p:ext>
            </p:extLst>
          </p:nvPr>
        </p:nvGraphicFramePr>
        <p:xfrm>
          <a:off x="1465" y="1589"/>
          <a:ext cx="1465" cy="1587"/>
        </p:xfrm>
        <a:graphic>
          <a:graphicData uri="http://schemas.openxmlformats.org/presentationml/2006/ole">
            <mc:AlternateContent xmlns:mc="http://schemas.openxmlformats.org/markup-compatibility/2006">
              <mc:Choice xmlns:v="urn:schemas-microsoft-com:vml" Requires="v">
                <p:oleObj spid="_x0000_s73133"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465"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7" descr="Bandeau Haut rouge.emf"/>
          <p:cNvPicPr>
            <a:picLocks/>
          </p:cNvPicPr>
          <p:nvPr userDrawn="1"/>
        </p:nvPicPr>
        <p:blipFill>
          <a:blip r:embed="rId11" cstate="print"/>
          <a:srcRect l="397" r="624"/>
          <a:stretch>
            <a:fillRect/>
          </a:stretch>
        </p:blipFill>
        <p:spPr>
          <a:xfrm>
            <a:off x="0" y="-7951"/>
            <a:ext cx="9144000" cy="572112"/>
          </a:xfrm>
          <a:prstGeom prst="rect">
            <a:avLst/>
          </a:prstGeom>
        </p:spPr>
      </p:pic>
      <p:pic>
        <p:nvPicPr>
          <p:cNvPr id="11" name="Picture 10" descr="Bandeau Bas bleu.emf"/>
          <p:cNvPicPr>
            <a:picLocks/>
          </p:cNvPicPr>
          <p:nvPr userDrawn="1"/>
        </p:nvPicPr>
        <p:blipFill>
          <a:blip r:embed="rId12" cstate="print"/>
          <a:srcRect l="775" r="712" b="6657"/>
          <a:stretch>
            <a:fillRect/>
          </a:stretch>
        </p:blipFill>
        <p:spPr>
          <a:xfrm>
            <a:off x="0" y="6419981"/>
            <a:ext cx="9144000" cy="445970"/>
          </a:xfrm>
          <a:prstGeom prst="rect">
            <a:avLst/>
          </a:prstGeom>
        </p:spPr>
      </p:pic>
      <p:sp>
        <p:nvSpPr>
          <p:cNvPr id="1026" name="Title Placeholder 1"/>
          <p:cNvSpPr>
            <a:spLocks noGrp="1"/>
          </p:cNvSpPr>
          <p:nvPr>
            <p:ph type="title"/>
          </p:nvPr>
        </p:nvSpPr>
        <p:spPr bwMode="auto">
          <a:xfrm>
            <a:off x="422031" y="328896"/>
            <a:ext cx="8301404" cy="831850"/>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422031" y="1508125"/>
            <a:ext cx="8301404" cy="45910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endParaRPr lang="en-US" dirty="0" smtClean="0"/>
          </a:p>
          <a:p>
            <a:pPr lvl="1"/>
            <a:r>
              <a:rPr lang="en-US" smtClean="0"/>
              <a:t>Second level</a:t>
            </a:r>
            <a:endParaRPr lang="en-US" dirty="0" smtClean="0"/>
          </a:p>
          <a:p>
            <a:pPr lvl="2"/>
            <a:r>
              <a:rPr lang="en-US" dirty="0" smtClean="0"/>
              <a:t>Third level</a:t>
            </a:r>
          </a:p>
          <a:p>
            <a:pPr lvl="3"/>
            <a:r>
              <a:rPr lang="en-US" dirty="0" smtClean="0"/>
              <a:t>Fourth level</a:t>
            </a:r>
          </a:p>
          <a:p>
            <a:pPr lvl="4"/>
            <a:r>
              <a:rPr lang="en-US" dirty="0" smtClean="0"/>
              <a:t>Fifth level</a:t>
            </a:r>
          </a:p>
        </p:txBody>
      </p:sp>
      <p:sp>
        <p:nvSpPr>
          <p:cNvPr id="7" name="FooterSimple"/>
          <p:cNvSpPr>
            <a:spLocks noChangeArrowheads="1"/>
          </p:cNvSpPr>
          <p:nvPr/>
        </p:nvSpPr>
        <p:spPr bwMode="auto">
          <a:xfrm>
            <a:off x="422031" y="6744489"/>
            <a:ext cx="1916077" cy="107722"/>
          </a:xfrm>
          <a:prstGeom prst="rect">
            <a:avLst/>
          </a:prstGeom>
          <a:noFill/>
          <a:ln w="25400" algn="ctr">
            <a:noFill/>
            <a:miter lim="800000"/>
            <a:headEnd/>
            <a:tailEnd/>
          </a:ln>
        </p:spPr>
        <p:txBody>
          <a:bodyPr wrap="none" lIns="0" tIns="0" rIns="0" bIns="0" anchor="ctr">
            <a:spAutoFit/>
          </a:bodyPr>
          <a:lstStyle/>
          <a:p>
            <a:pPr fontAlgn="base">
              <a:spcBef>
                <a:spcPct val="0"/>
              </a:spcBef>
              <a:spcAft>
                <a:spcPct val="0"/>
              </a:spcAft>
              <a:defRPr/>
            </a:pPr>
            <a:r>
              <a:rPr lang="en-US" sz="700" smtClean="0">
                <a:solidFill>
                  <a:srgbClr val="E2E2E2"/>
                </a:solidFill>
                <a:latin typeface="Calibri"/>
                <a:sym typeface="Calibri"/>
              </a:rPr>
              <a:t>UNITAID Key Performance Indicators-EB 26-v10.pptx</a:t>
            </a:r>
            <a:endParaRPr lang="en-US" sz="700" dirty="0">
              <a:solidFill>
                <a:srgbClr val="E2E2E2"/>
              </a:solidFill>
              <a:latin typeface="Calibri"/>
              <a:sym typeface="Calibri"/>
            </a:endParaRPr>
          </a:p>
        </p:txBody>
      </p:sp>
      <p:sp>
        <p:nvSpPr>
          <p:cNvPr id="10" name="Slide Number Placeholder 5"/>
          <p:cNvSpPr txBox="1">
            <a:spLocks/>
          </p:cNvSpPr>
          <p:nvPr userDrawn="1"/>
        </p:nvSpPr>
        <p:spPr>
          <a:xfrm>
            <a:off x="422031" y="6631791"/>
            <a:ext cx="175846" cy="133350"/>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algn="l">
              <a:defRPr/>
            </a:pPr>
            <a:fld id="{314D992F-7007-473D-9CAC-8B17A67E3C5E}" type="slidenum">
              <a:rPr lang="en-US" smtClean="0">
                <a:solidFill>
                  <a:srgbClr val="FFFFFF"/>
                </a:solidFill>
                <a:latin typeface="Calibri"/>
              </a:rPr>
              <a:pPr algn="l">
                <a:defRPr/>
              </a:pPr>
              <a:t>‹#›</a:t>
            </a:fld>
            <a:endParaRPr lang="en-US" dirty="0">
              <a:solidFill>
                <a:srgbClr val="FFFFFF"/>
              </a:solidFill>
              <a:latin typeface="Calibri"/>
            </a:endParaRPr>
          </a:p>
        </p:txBody>
      </p:sp>
    </p:spTree>
    <p:extLst>
      <p:ext uri="{BB962C8B-B14F-4D97-AF65-F5344CB8AC3E}">
        <p14:creationId xmlns:p14="http://schemas.microsoft.com/office/powerpoint/2010/main" val="1140032701"/>
      </p:ext>
    </p:extLst>
  </p:cSld>
  <p:clrMap bg1="lt1" tx1="dk1" bg2="lt2" tx2="dk2" accent1="accent1" accent2="accent2" accent3="accent3" accent4="accent4" accent5="accent5" accent6="accent6" hlink="hlink" folHlink="folHlink"/>
  <p:sldLayoutIdLst>
    <p:sldLayoutId id="2147483725" r:id="rId1"/>
    <p:sldLayoutId id="2147483727" r:id="rId2"/>
    <p:sldLayoutId id="2147483728" r:id="rId3"/>
    <p:sldLayoutId id="2147483729" r:id="rId4"/>
    <p:sldLayoutId id="2147483730" r:id="rId5"/>
  </p:sldLayoutIdLst>
  <p:hf hdr="0" ftr="0" dt="0"/>
  <p:txStyles>
    <p:titleStyle>
      <a:lvl1pPr algn="l" rtl="0" eaLnBrk="0" fontAlgn="base" hangingPunct="0">
        <a:spcBef>
          <a:spcPct val="0"/>
        </a:spcBef>
        <a:spcAft>
          <a:spcPct val="0"/>
        </a:spcAft>
        <a:defRPr sz="2400" b="1" kern="1200">
          <a:solidFill>
            <a:srgbClr val="AD172B"/>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defRPr>
      </a:lvl2pPr>
      <a:lvl3pPr algn="l" rtl="0" eaLnBrk="0" fontAlgn="base" hangingPunct="0">
        <a:spcBef>
          <a:spcPct val="0"/>
        </a:spcBef>
        <a:spcAft>
          <a:spcPct val="0"/>
        </a:spcAft>
        <a:defRPr sz="2400" b="1">
          <a:solidFill>
            <a:schemeClr val="tx2"/>
          </a:solidFill>
          <a:latin typeface="Arial" charset="0"/>
        </a:defRPr>
      </a:lvl3pPr>
      <a:lvl4pPr algn="l" rtl="0" eaLnBrk="0" fontAlgn="base" hangingPunct="0">
        <a:spcBef>
          <a:spcPct val="0"/>
        </a:spcBef>
        <a:spcAft>
          <a:spcPct val="0"/>
        </a:spcAft>
        <a:defRPr sz="2400" b="1">
          <a:solidFill>
            <a:schemeClr val="tx2"/>
          </a:solidFill>
          <a:latin typeface="Arial" charset="0"/>
        </a:defRPr>
      </a:lvl4pPr>
      <a:lvl5pPr algn="l" rtl="0" eaLnBrk="0" fontAlgn="base" hangingPunct="0">
        <a:spcBef>
          <a:spcPct val="0"/>
        </a:spcBef>
        <a:spcAft>
          <a:spcPct val="0"/>
        </a:spcAft>
        <a:defRPr sz="2400" b="1">
          <a:solidFill>
            <a:schemeClr val="tx2"/>
          </a:solidFill>
          <a:latin typeface="Arial" charset="0"/>
        </a:defRPr>
      </a:lvl5pPr>
      <a:lvl6pPr marL="457200" algn="l" rtl="0" fontAlgn="base">
        <a:spcBef>
          <a:spcPct val="0"/>
        </a:spcBef>
        <a:spcAft>
          <a:spcPct val="0"/>
        </a:spcAft>
        <a:defRPr sz="2400" b="1">
          <a:solidFill>
            <a:schemeClr val="tx2"/>
          </a:solidFill>
          <a:latin typeface="Arial" charset="0"/>
        </a:defRPr>
      </a:lvl6pPr>
      <a:lvl7pPr marL="914400" algn="l" rtl="0" fontAlgn="base">
        <a:spcBef>
          <a:spcPct val="0"/>
        </a:spcBef>
        <a:spcAft>
          <a:spcPct val="0"/>
        </a:spcAft>
        <a:defRPr sz="2400" b="1">
          <a:solidFill>
            <a:schemeClr val="tx2"/>
          </a:solidFill>
          <a:latin typeface="Arial" charset="0"/>
        </a:defRPr>
      </a:lvl7pPr>
      <a:lvl8pPr marL="1371600" algn="l" rtl="0" fontAlgn="base">
        <a:spcBef>
          <a:spcPct val="0"/>
        </a:spcBef>
        <a:spcAft>
          <a:spcPct val="0"/>
        </a:spcAft>
        <a:defRPr sz="2400" b="1">
          <a:solidFill>
            <a:schemeClr val="tx2"/>
          </a:solidFill>
          <a:latin typeface="Arial" charset="0"/>
        </a:defRPr>
      </a:lvl8pPr>
      <a:lvl9pPr marL="1828800" algn="l" rtl="0" fontAlgn="base">
        <a:spcBef>
          <a:spcPct val="0"/>
        </a:spcBef>
        <a:spcAft>
          <a:spcPct val="0"/>
        </a:spcAft>
        <a:defRPr sz="2400" b="1">
          <a:solidFill>
            <a:schemeClr val="tx2"/>
          </a:solidFill>
          <a:latin typeface="Arial" charset="0"/>
        </a:defRPr>
      </a:lvl9pPr>
    </p:titleStyle>
    <p:bodyStyle>
      <a:lvl1pPr marL="0" indent="0" algn="l" rtl="0" eaLnBrk="0" fontAlgn="base" hangingPunct="0">
        <a:spcBef>
          <a:spcPct val="20000"/>
        </a:spcBef>
        <a:spcAft>
          <a:spcPct val="0"/>
        </a:spcAft>
        <a:buClr>
          <a:schemeClr val="tx2"/>
        </a:buClr>
        <a:defRPr sz="1600" b="1" kern="1200">
          <a:solidFill>
            <a:schemeClr val="tx1"/>
          </a:solidFill>
          <a:latin typeface="+mn-lt"/>
          <a:ea typeface="+mn-ea"/>
          <a:cs typeface="+mn-cs"/>
        </a:defRPr>
      </a:lvl1pPr>
      <a:lvl2pPr marL="457200" indent="-228600" algn="l" rtl="0" eaLnBrk="0" fontAlgn="base" hangingPunct="0">
        <a:spcBef>
          <a:spcPct val="20000"/>
        </a:spcBef>
        <a:spcAft>
          <a:spcPct val="0"/>
        </a:spcAft>
        <a:buClr>
          <a:schemeClr val="tx2"/>
        </a:buClr>
        <a:buFont typeface="Arial" pitchFamily="34" charset="0"/>
        <a:buChar char="•"/>
        <a:defRPr sz="1600" kern="1200">
          <a:solidFill>
            <a:schemeClr val="tx1"/>
          </a:solidFill>
          <a:latin typeface="+mn-lt"/>
          <a:ea typeface="+mn-ea"/>
          <a:cs typeface="+mn-cs"/>
        </a:defRPr>
      </a:lvl2pPr>
      <a:lvl3pPr marL="914400" indent="-228600" algn="l" rtl="0" eaLnBrk="0" fontAlgn="base" hangingPunct="0">
        <a:spcBef>
          <a:spcPct val="20000"/>
        </a:spcBef>
        <a:spcAft>
          <a:spcPct val="0"/>
        </a:spcAft>
        <a:buClr>
          <a:schemeClr val="tx2"/>
        </a:buClr>
        <a:buFont typeface="Arial" pitchFamily="34" charset="0"/>
        <a:buChar char="–"/>
        <a:defRPr sz="1600" kern="1200">
          <a:solidFill>
            <a:schemeClr val="tx1"/>
          </a:solidFill>
          <a:latin typeface="+mn-lt"/>
          <a:ea typeface="+mn-ea"/>
          <a:cs typeface="+mn-cs"/>
        </a:defRPr>
      </a:lvl3pPr>
      <a:lvl4pPr marL="1376363" indent="-231775" algn="l" rtl="0" eaLnBrk="0" fontAlgn="base" hangingPunct="0">
        <a:spcBef>
          <a:spcPct val="20000"/>
        </a:spcBef>
        <a:spcAft>
          <a:spcPct val="0"/>
        </a:spcAft>
        <a:buClr>
          <a:schemeClr val="tx2"/>
        </a:buClr>
        <a:buFont typeface="Arial" pitchFamily="34" charset="0"/>
        <a:buChar char="–"/>
        <a:defRPr sz="1600" kern="1200">
          <a:solidFill>
            <a:schemeClr val="tx1"/>
          </a:solidFill>
          <a:latin typeface="+mn-lt"/>
          <a:ea typeface="+mn-ea"/>
          <a:cs typeface="+mn-cs"/>
        </a:defRPr>
      </a:lvl4pPr>
      <a:lvl5pPr marL="2058988" indent="-230188" algn="l" rtl="0" eaLnBrk="0" fontAlgn="base" hangingPunct="0">
        <a:spcBef>
          <a:spcPct val="20000"/>
        </a:spcBef>
        <a:spcAft>
          <a:spcPct val="0"/>
        </a:spcAft>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Object 8" hidden="1"/>
          <p:cNvGraphicFramePr>
            <a:graphicFrameLocks noChangeAspect="1"/>
          </p:cNvGraphicFramePr>
          <p:nvPr>
            <p:custDataLst>
              <p:tags r:id="rId8"/>
            </p:custDataLst>
            <p:extLst>
              <p:ext uri="{D42A27DB-BD31-4B8C-83A1-F6EECF244321}">
                <p14:modId xmlns:p14="http://schemas.microsoft.com/office/powerpoint/2010/main" val="3757231162"/>
              </p:ext>
            </p:extLst>
          </p:nvPr>
        </p:nvGraphicFramePr>
        <p:xfrm>
          <a:off x="1465" y="1589"/>
          <a:ext cx="1465" cy="1587"/>
        </p:xfrm>
        <a:graphic>
          <a:graphicData uri="http://schemas.openxmlformats.org/presentationml/2006/ole">
            <mc:AlternateContent xmlns:mc="http://schemas.openxmlformats.org/markup-compatibility/2006">
              <mc:Choice xmlns:v="urn:schemas-microsoft-com:vml" Requires="v">
                <p:oleObj spid="_x0000_s80265" name="think-cell Slide" r:id="rId9" imgW="360" imgH="360" progId="TCLayout.ActiveDocument.1">
                  <p:embed/>
                </p:oleObj>
              </mc:Choice>
              <mc:Fallback>
                <p:oleObj name="think-cell Slide" r:id="rId9" imgW="360" imgH="360" progId="TCLayout.ActiveDocument.1">
                  <p:embed/>
                  <p:pic>
                    <p:nvPicPr>
                      <p:cNvPr id="0" name=""/>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1465" y="1589"/>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8" name="Picture 7" descr="Bandeau Haut rouge.emf"/>
          <p:cNvPicPr>
            <a:picLocks/>
          </p:cNvPicPr>
          <p:nvPr userDrawn="1"/>
        </p:nvPicPr>
        <p:blipFill>
          <a:blip r:embed="rId11" cstate="print"/>
          <a:srcRect l="397" r="624"/>
          <a:stretch>
            <a:fillRect/>
          </a:stretch>
        </p:blipFill>
        <p:spPr>
          <a:xfrm>
            <a:off x="0" y="-7951"/>
            <a:ext cx="9144000" cy="572112"/>
          </a:xfrm>
          <a:prstGeom prst="rect">
            <a:avLst/>
          </a:prstGeom>
        </p:spPr>
      </p:pic>
      <p:pic>
        <p:nvPicPr>
          <p:cNvPr id="11" name="Picture 10" descr="Bandeau Bas bleu.emf"/>
          <p:cNvPicPr>
            <a:picLocks/>
          </p:cNvPicPr>
          <p:nvPr userDrawn="1"/>
        </p:nvPicPr>
        <p:blipFill>
          <a:blip r:embed="rId12" cstate="print"/>
          <a:srcRect l="775" r="712" b="6657"/>
          <a:stretch>
            <a:fillRect/>
          </a:stretch>
        </p:blipFill>
        <p:spPr>
          <a:xfrm>
            <a:off x="0" y="6419981"/>
            <a:ext cx="9144000" cy="445970"/>
          </a:xfrm>
          <a:prstGeom prst="rect">
            <a:avLst/>
          </a:prstGeom>
        </p:spPr>
      </p:pic>
      <p:sp>
        <p:nvSpPr>
          <p:cNvPr id="1026" name="Title Placeholder 1"/>
          <p:cNvSpPr>
            <a:spLocks noGrp="1"/>
          </p:cNvSpPr>
          <p:nvPr>
            <p:ph type="title"/>
          </p:nvPr>
        </p:nvSpPr>
        <p:spPr bwMode="auto">
          <a:xfrm>
            <a:off x="422031" y="328896"/>
            <a:ext cx="8301404" cy="831850"/>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422031" y="1508125"/>
            <a:ext cx="8301404" cy="459105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Click to edit Master text styles</a:t>
            </a:r>
            <a:endParaRPr lang="en-US" dirty="0" smtClean="0"/>
          </a:p>
          <a:p>
            <a:pPr lvl="1"/>
            <a:r>
              <a:rPr lang="en-US" smtClean="0"/>
              <a:t>Second level</a:t>
            </a:r>
            <a:endParaRPr lang="en-US" dirty="0" smtClean="0"/>
          </a:p>
          <a:p>
            <a:pPr lvl="2"/>
            <a:r>
              <a:rPr lang="en-US" dirty="0" smtClean="0"/>
              <a:t>Third level</a:t>
            </a:r>
          </a:p>
          <a:p>
            <a:pPr lvl="3"/>
            <a:r>
              <a:rPr lang="en-US" dirty="0" smtClean="0"/>
              <a:t>Fourth level</a:t>
            </a:r>
          </a:p>
          <a:p>
            <a:pPr lvl="4"/>
            <a:r>
              <a:rPr lang="en-US" dirty="0" smtClean="0"/>
              <a:t>Fifth level</a:t>
            </a:r>
          </a:p>
        </p:txBody>
      </p:sp>
      <p:sp>
        <p:nvSpPr>
          <p:cNvPr id="7" name="FooterSimple"/>
          <p:cNvSpPr>
            <a:spLocks noChangeArrowheads="1"/>
          </p:cNvSpPr>
          <p:nvPr/>
        </p:nvSpPr>
        <p:spPr bwMode="auto">
          <a:xfrm>
            <a:off x="422031" y="6744489"/>
            <a:ext cx="1916077" cy="107722"/>
          </a:xfrm>
          <a:prstGeom prst="rect">
            <a:avLst/>
          </a:prstGeom>
          <a:noFill/>
          <a:ln w="25400" algn="ctr">
            <a:noFill/>
            <a:miter lim="800000"/>
            <a:headEnd/>
            <a:tailEnd/>
          </a:ln>
        </p:spPr>
        <p:txBody>
          <a:bodyPr wrap="none" lIns="0" tIns="0" rIns="0" bIns="0" anchor="ctr">
            <a:spAutoFit/>
          </a:bodyPr>
          <a:lstStyle/>
          <a:p>
            <a:pPr fontAlgn="base">
              <a:spcBef>
                <a:spcPct val="0"/>
              </a:spcBef>
              <a:spcAft>
                <a:spcPct val="0"/>
              </a:spcAft>
              <a:defRPr/>
            </a:pPr>
            <a:r>
              <a:rPr lang="en-US" sz="700" smtClean="0">
                <a:solidFill>
                  <a:srgbClr val="E2E2E2"/>
                </a:solidFill>
                <a:latin typeface="Calibri"/>
                <a:sym typeface="Calibri"/>
              </a:rPr>
              <a:t>UNITAID Key Performance Indicators-EB 26-v10.pptx</a:t>
            </a:r>
            <a:endParaRPr lang="en-US" sz="700" dirty="0">
              <a:solidFill>
                <a:srgbClr val="E2E2E2"/>
              </a:solidFill>
              <a:latin typeface="Calibri"/>
              <a:sym typeface="Calibri"/>
            </a:endParaRPr>
          </a:p>
        </p:txBody>
      </p:sp>
      <p:sp>
        <p:nvSpPr>
          <p:cNvPr id="10" name="Slide Number Placeholder 5"/>
          <p:cNvSpPr txBox="1">
            <a:spLocks/>
          </p:cNvSpPr>
          <p:nvPr userDrawn="1"/>
        </p:nvSpPr>
        <p:spPr>
          <a:xfrm>
            <a:off x="422031" y="6631791"/>
            <a:ext cx="175846" cy="133350"/>
          </a:xfrm>
          <a:prstGeom prst="rect">
            <a:avLst/>
          </a:prstGeom>
        </p:spPr>
        <p:txBody>
          <a:bodyPr vert="horz" wrap="none" lIns="0" tIns="0" rIns="0" bIns="0" rtlCol="0" anchor="t" anchorCtr="0"/>
          <a:lstStyle>
            <a:lvl1pPr algn="r" fontAlgn="auto">
              <a:spcBef>
                <a:spcPts val="0"/>
              </a:spcBef>
              <a:spcAft>
                <a:spcPts val="0"/>
              </a:spcAft>
              <a:defRPr sz="900">
                <a:solidFill>
                  <a:schemeClr val="tx1"/>
                </a:solidFill>
                <a:latin typeface="+mn-lt"/>
              </a:defRPr>
            </a:lvl1pPr>
          </a:lstStyle>
          <a:p>
            <a:pPr algn="l">
              <a:defRPr/>
            </a:pPr>
            <a:fld id="{314D992F-7007-473D-9CAC-8B17A67E3C5E}" type="slidenum">
              <a:rPr lang="en-US" smtClean="0">
                <a:solidFill>
                  <a:srgbClr val="FFFFFF"/>
                </a:solidFill>
                <a:latin typeface="Calibri"/>
              </a:rPr>
              <a:pPr algn="l">
                <a:defRPr/>
              </a:pPr>
              <a:t>‹#›</a:t>
            </a:fld>
            <a:endParaRPr lang="en-US" dirty="0">
              <a:solidFill>
                <a:srgbClr val="FFFFFF"/>
              </a:solidFill>
              <a:latin typeface="Calibri"/>
            </a:endParaRPr>
          </a:p>
        </p:txBody>
      </p:sp>
    </p:spTree>
    <p:extLst>
      <p:ext uri="{BB962C8B-B14F-4D97-AF65-F5344CB8AC3E}">
        <p14:creationId xmlns:p14="http://schemas.microsoft.com/office/powerpoint/2010/main" val="647325091"/>
      </p:ext>
    </p:extLst>
  </p:cSld>
  <p:clrMap bg1="lt1" tx1="dk1" bg2="lt2" tx2="dk2" accent1="accent1" accent2="accent2" accent3="accent3" accent4="accent4" accent5="accent5" accent6="accent6" hlink="hlink" folHlink="folHlink"/>
  <p:sldLayoutIdLst>
    <p:sldLayoutId id="2147483732" r:id="rId1"/>
    <p:sldLayoutId id="2147483734" r:id="rId2"/>
    <p:sldLayoutId id="2147483735" r:id="rId3"/>
    <p:sldLayoutId id="2147483736" r:id="rId4"/>
    <p:sldLayoutId id="2147483737" r:id="rId5"/>
  </p:sldLayoutIdLst>
  <p:hf hdr="0" ftr="0" dt="0"/>
  <p:txStyles>
    <p:titleStyle>
      <a:lvl1pPr algn="l" rtl="0" eaLnBrk="0" fontAlgn="base" hangingPunct="0">
        <a:spcBef>
          <a:spcPct val="0"/>
        </a:spcBef>
        <a:spcAft>
          <a:spcPct val="0"/>
        </a:spcAft>
        <a:defRPr sz="2400" b="1" kern="1200">
          <a:solidFill>
            <a:srgbClr val="AD172B"/>
          </a:solidFill>
          <a:latin typeface="+mj-lt"/>
          <a:ea typeface="+mj-ea"/>
          <a:cs typeface="+mj-cs"/>
        </a:defRPr>
      </a:lvl1pPr>
      <a:lvl2pPr algn="l" rtl="0" eaLnBrk="0" fontAlgn="base" hangingPunct="0">
        <a:spcBef>
          <a:spcPct val="0"/>
        </a:spcBef>
        <a:spcAft>
          <a:spcPct val="0"/>
        </a:spcAft>
        <a:defRPr sz="2400" b="1">
          <a:solidFill>
            <a:schemeClr val="tx2"/>
          </a:solidFill>
          <a:latin typeface="Arial" charset="0"/>
        </a:defRPr>
      </a:lvl2pPr>
      <a:lvl3pPr algn="l" rtl="0" eaLnBrk="0" fontAlgn="base" hangingPunct="0">
        <a:spcBef>
          <a:spcPct val="0"/>
        </a:spcBef>
        <a:spcAft>
          <a:spcPct val="0"/>
        </a:spcAft>
        <a:defRPr sz="2400" b="1">
          <a:solidFill>
            <a:schemeClr val="tx2"/>
          </a:solidFill>
          <a:latin typeface="Arial" charset="0"/>
        </a:defRPr>
      </a:lvl3pPr>
      <a:lvl4pPr algn="l" rtl="0" eaLnBrk="0" fontAlgn="base" hangingPunct="0">
        <a:spcBef>
          <a:spcPct val="0"/>
        </a:spcBef>
        <a:spcAft>
          <a:spcPct val="0"/>
        </a:spcAft>
        <a:defRPr sz="2400" b="1">
          <a:solidFill>
            <a:schemeClr val="tx2"/>
          </a:solidFill>
          <a:latin typeface="Arial" charset="0"/>
        </a:defRPr>
      </a:lvl4pPr>
      <a:lvl5pPr algn="l" rtl="0" eaLnBrk="0" fontAlgn="base" hangingPunct="0">
        <a:spcBef>
          <a:spcPct val="0"/>
        </a:spcBef>
        <a:spcAft>
          <a:spcPct val="0"/>
        </a:spcAft>
        <a:defRPr sz="2400" b="1">
          <a:solidFill>
            <a:schemeClr val="tx2"/>
          </a:solidFill>
          <a:latin typeface="Arial" charset="0"/>
        </a:defRPr>
      </a:lvl5pPr>
      <a:lvl6pPr marL="457200" algn="l" rtl="0" fontAlgn="base">
        <a:spcBef>
          <a:spcPct val="0"/>
        </a:spcBef>
        <a:spcAft>
          <a:spcPct val="0"/>
        </a:spcAft>
        <a:defRPr sz="2400" b="1">
          <a:solidFill>
            <a:schemeClr val="tx2"/>
          </a:solidFill>
          <a:latin typeface="Arial" charset="0"/>
        </a:defRPr>
      </a:lvl6pPr>
      <a:lvl7pPr marL="914400" algn="l" rtl="0" fontAlgn="base">
        <a:spcBef>
          <a:spcPct val="0"/>
        </a:spcBef>
        <a:spcAft>
          <a:spcPct val="0"/>
        </a:spcAft>
        <a:defRPr sz="2400" b="1">
          <a:solidFill>
            <a:schemeClr val="tx2"/>
          </a:solidFill>
          <a:latin typeface="Arial" charset="0"/>
        </a:defRPr>
      </a:lvl7pPr>
      <a:lvl8pPr marL="1371600" algn="l" rtl="0" fontAlgn="base">
        <a:spcBef>
          <a:spcPct val="0"/>
        </a:spcBef>
        <a:spcAft>
          <a:spcPct val="0"/>
        </a:spcAft>
        <a:defRPr sz="2400" b="1">
          <a:solidFill>
            <a:schemeClr val="tx2"/>
          </a:solidFill>
          <a:latin typeface="Arial" charset="0"/>
        </a:defRPr>
      </a:lvl8pPr>
      <a:lvl9pPr marL="1828800" algn="l" rtl="0" fontAlgn="base">
        <a:spcBef>
          <a:spcPct val="0"/>
        </a:spcBef>
        <a:spcAft>
          <a:spcPct val="0"/>
        </a:spcAft>
        <a:defRPr sz="2400" b="1">
          <a:solidFill>
            <a:schemeClr val="tx2"/>
          </a:solidFill>
          <a:latin typeface="Arial" charset="0"/>
        </a:defRPr>
      </a:lvl9pPr>
    </p:titleStyle>
    <p:bodyStyle>
      <a:lvl1pPr marL="0" indent="0" algn="l" rtl="0" eaLnBrk="0" fontAlgn="base" hangingPunct="0">
        <a:spcBef>
          <a:spcPct val="20000"/>
        </a:spcBef>
        <a:spcAft>
          <a:spcPct val="0"/>
        </a:spcAft>
        <a:buClr>
          <a:schemeClr val="tx2"/>
        </a:buClr>
        <a:defRPr sz="1600" b="1" kern="1200">
          <a:solidFill>
            <a:schemeClr val="tx1"/>
          </a:solidFill>
          <a:latin typeface="+mn-lt"/>
          <a:ea typeface="+mn-ea"/>
          <a:cs typeface="+mn-cs"/>
        </a:defRPr>
      </a:lvl1pPr>
      <a:lvl2pPr marL="457200" indent="-228600" algn="l" rtl="0" eaLnBrk="0" fontAlgn="base" hangingPunct="0">
        <a:spcBef>
          <a:spcPct val="20000"/>
        </a:spcBef>
        <a:spcAft>
          <a:spcPct val="0"/>
        </a:spcAft>
        <a:buClr>
          <a:schemeClr val="tx2"/>
        </a:buClr>
        <a:buFont typeface="Arial" pitchFamily="34" charset="0"/>
        <a:buChar char="•"/>
        <a:defRPr sz="1600" kern="1200">
          <a:solidFill>
            <a:schemeClr val="tx1"/>
          </a:solidFill>
          <a:latin typeface="+mn-lt"/>
          <a:ea typeface="+mn-ea"/>
          <a:cs typeface="+mn-cs"/>
        </a:defRPr>
      </a:lvl2pPr>
      <a:lvl3pPr marL="914400" indent="-228600" algn="l" rtl="0" eaLnBrk="0" fontAlgn="base" hangingPunct="0">
        <a:spcBef>
          <a:spcPct val="20000"/>
        </a:spcBef>
        <a:spcAft>
          <a:spcPct val="0"/>
        </a:spcAft>
        <a:buClr>
          <a:schemeClr val="tx2"/>
        </a:buClr>
        <a:buFont typeface="Arial" pitchFamily="34" charset="0"/>
        <a:buChar char="–"/>
        <a:defRPr sz="1600" kern="1200">
          <a:solidFill>
            <a:schemeClr val="tx1"/>
          </a:solidFill>
          <a:latin typeface="+mn-lt"/>
          <a:ea typeface="+mn-ea"/>
          <a:cs typeface="+mn-cs"/>
        </a:defRPr>
      </a:lvl3pPr>
      <a:lvl4pPr marL="1376363" indent="-231775" algn="l" rtl="0" eaLnBrk="0" fontAlgn="base" hangingPunct="0">
        <a:spcBef>
          <a:spcPct val="20000"/>
        </a:spcBef>
        <a:spcAft>
          <a:spcPct val="0"/>
        </a:spcAft>
        <a:buClr>
          <a:schemeClr val="tx2"/>
        </a:buClr>
        <a:buFont typeface="Arial" pitchFamily="34" charset="0"/>
        <a:buChar char="–"/>
        <a:defRPr sz="1600" kern="1200">
          <a:solidFill>
            <a:schemeClr val="tx1"/>
          </a:solidFill>
          <a:latin typeface="+mn-lt"/>
          <a:ea typeface="+mn-ea"/>
          <a:cs typeface="+mn-cs"/>
        </a:defRPr>
      </a:lvl4pPr>
      <a:lvl5pPr marL="2058988" indent="-230188" algn="l" rtl="0" eaLnBrk="0" fontAlgn="base" hangingPunct="0">
        <a:spcBef>
          <a:spcPct val="20000"/>
        </a:spcBef>
        <a:spcAft>
          <a:spcPct val="0"/>
        </a:spcAft>
        <a:buClr>
          <a:schemeClr val="tx2"/>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ChangeArrowheads="1"/>
          </p:cNvSpPr>
          <p:nvPr/>
        </p:nvSpPr>
        <p:spPr bwMode="auto">
          <a:xfrm>
            <a:off x="0" y="0"/>
            <a:ext cx="9144000" cy="1022350"/>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pPr defTabSz="457200"/>
            <a:endParaRPr lang="en-US" dirty="0">
              <a:solidFill>
                <a:srgbClr val="000000"/>
              </a:solidFill>
              <a:latin typeface="Arial" pitchFamily="34" charset="0"/>
              <a:cs typeface="Arial" pitchFamily="34" charset="0"/>
            </a:endParaRPr>
          </a:p>
        </p:txBody>
      </p:sp>
      <p:sp>
        <p:nvSpPr>
          <p:cNvPr id="1027" name="Rectangle 3"/>
          <p:cNvSpPr>
            <a:spLocks noGrp="1" noChangeArrowheads="1"/>
          </p:cNvSpPr>
          <p:nvPr>
            <p:ph type="title"/>
          </p:nvPr>
        </p:nvSpPr>
        <p:spPr bwMode="white">
          <a:xfrm>
            <a:off x="193675" y="52388"/>
            <a:ext cx="8758238" cy="908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91440" tIns="45720" rIns="91440" bIns="45720" numCol="1" anchor="ctr" anchorCtr="0" compatLnSpc="1">
            <a:prstTxWarp prst="textNoShape">
              <a:avLst/>
            </a:prstTxWarp>
          </a:bodyPr>
          <a:lstStyle/>
          <a:p>
            <a:pPr lvl="0"/>
            <a:r>
              <a:rPr lang="en-US" dirty="0" smtClean="0"/>
              <a:t>Click to edit Master title style</a:t>
            </a:r>
            <a:endParaRPr lang="en-US" dirty="0"/>
          </a:p>
        </p:txBody>
      </p:sp>
      <p:sp>
        <p:nvSpPr>
          <p:cNvPr id="1028" name="Rectangle 4"/>
          <p:cNvSpPr>
            <a:spLocks noGrp="1" noChangeArrowheads="1"/>
          </p:cNvSpPr>
          <p:nvPr>
            <p:ph type="body" idx="1"/>
          </p:nvPr>
        </p:nvSpPr>
        <p:spPr bwMode="auto">
          <a:xfrm>
            <a:off x="700088" y="1277938"/>
            <a:ext cx="7786687" cy="17176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val="1"/>
            </a:ext>
          </a:extLst>
        </p:spPr>
        <p:txBody>
          <a:bodyPr vert="horz" wrap="square" lIns="46800" tIns="46800" rIns="46800" bIns="46800" numCol="1" anchor="t" anchorCtr="0" compatLnSpc="1">
            <a:prstTxWarp prst="textNoShape">
              <a:avLst/>
            </a:prstTxWarp>
            <a:sp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149" name="Rectangle 5"/>
          <p:cNvSpPr>
            <a:spLocks noGrp="1" noChangeArrowheads="1"/>
          </p:cNvSpPr>
          <p:nvPr>
            <p:ph type="sldNum" sz="quarter" idx="4"/>
          </p:nvPr>
        </p:nvSpPr>
        <p:spPr bwMode="auto">
          <a:xfrm>
            <a:off x="6818313" y="6302375"/>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a:latin typeface="Arial" pitchFamily="34" charset="0"/>
                <a:cs typeface="Arial" pitchFamily="34" charset="0"/>
              </a:defRPr>
            </a:lvl1pPr>
          </a:lstStyle>
          <a:p>
            <a:pPr defTabSz="457200"/>
            <a:fld id="{6EA8D270-DAAB-1D48-AD6B-8043B7827426}" type="slidenum">
              <a:rPr lang="en-US" smtClean="0">
                <a:solidFill>
                  <a:srgbClr val="000000"/>
                </a:solidFill>
              </a:rPr>
              <a:pPr defTabSz="457200"/>
              <a:t>‹#›</a:t>
            </a:fld>
            <a:endParaRPr lang="en-US" dirty="0">
              <a:solidFill>
                <a:srgbClr val="000000"/>
              </a:solidFill>
            </a:endParaRPr>
          </a:p>
        </p:txBody>
      </p:sp>
    </p:spTree>
    <p:extLst>
      <p:ext uri="{BB962C8B-B14F-4D97-AF65-F5344CB8AC3E}">
        <p14:creationId xmlns:p14="http://schemas.microsoft.com/office/powerpoint/2010/main" val="214362786"/>
      </p:ext>
    </p:extLst>
  </p:cSld>
  <p:clrMap bg1="lt1" tx1="dk1" bg2="lt2" tx2="dk2" accent1="accent1" accent2="accent2" accent3="accent3" accent4="accent4" accent5="accent5" accent6="accent6" hlink="hlink" folHlink="folHlink"/>
  <p:sldLayoutIdLst>
    <p:sldLayoutId id="2147483747" r:id="rId1"/>
    <p:sldLayoutId id="2147483748" r:id="rId2"/>
    <p:sldLayoutId id="2147483749" r:id="rId3"/>
    <p:sldLayoutId id="2147483750" r:id="rId4"/>
    <p:sldLayoutId id="2147483751" r:id="rId5"/>
    <p:sldLayoutId id="2147483752" r:id="rId6"/>
    <p:sldLayoutId id="2147483753" r:id="rId7"/>
    <p:sldLayoutId id="2147483754" r:id="rId8"/>
    <p:sldLayoutId id="2147483755" r:id="rId9"/>
    <p:sldLayoutId id="2147483756" r:id="rId10"/>
    <p:sldLayoutId id="2147483757" r:id="rId11"/>
    <p:sldLayoutId id="2147483758" r:id="rId12"/>
    <p:sldLayoutId id="2147483759" r:id="rId13"/>
  </p:sldLayoutIdLst>
  <p:timing>
    <p:tnLst>
      <p:par>
        <p:cTn xmlns:p14="http://schemas.microsoft.com/office/powerpoint/2010/main" id="1" dur="indefinite" restart="never" nodeType="tmRoot"/>
      </p:par>
    </p:tnLst>
  </p:timing>
  <p:hf hdr="0" ftr="0" dt="0"/>
  <p:txStyles>
    <p:titleStyle>
      <a:lvl1pPr algn="l" rtl="0" eaLnBrk="1" fontAlgn="base" hangingPunct="1">
        <a:spcBef>
          <a:spcPct val="0"/>
        </a:spcBef>
        <a:spcAft>
          <a:spcPct val="0"/>
        </a:spcAft>
        <a:defRPr sz="2400">
          <a:solidFill>
            <a:schemeClr val="bg1"/>
          </a:solidFill>
          <a:latin typeface="Arial" pitchFamily="34" charset="0"/>
          <a:ea typeface="ＭＳ Ｐゴシック" charset="0"/>
          <a:cs typeface="Arial" pitchFamily="34" charset="0"/>
        </a:defRPr>
      </a:lvl1pPr>
      <a:lvl2pPr algn="l" rtl="0" eaLnBrk="1" fontAlgn="base" hangingPunct="1">
        <a:spcBef>
          <a:spcPct val="0"/>
        </a:spcBef>
        <a:spcAft>
          <a:spcPct val="0"/>
        </a:spcAft>
        <a:defRPr sz="2400">
          <a:solidFill>
            <a:schemeClr val="bg1"/>
          </a:solidFill>
          <a:latin typeface="Verdana" pitchFamily="34" charset="0"/>
          <a:ea typeface="ＭＳ Ｐゴシック" charset="0"/>
        </a:defRPr>
      </a:lvl2pPr>
      <a:lvl3pPr algn="l" rtl="0" eaLnBrk="1" fontAlgn="base" hangingPunct="1">
        <a:spcBef>
          <a:spcPct val="0"/>
        </a:spcBef>
        <a:spcAft>
          <a:spcPct val="0"/>
        </a:spcAft>
        <a:defRPr sz="2400">
          <a:solidFill>
            <a:schemeClr val="bg1"/>
          </a:solidFill>
          <a:latin typeface="Verdana" pitchFamily="34" charset="0"/>
          <a:ea typeface="ＭＳ Ｐゴシック" charset="0"/>
        </a:defRPr>
      </a:lvl3pPr>
      <a:lvl4pPr algn="l" rtl="0" eaLnBrk="1" fontAlgn="base" hangingPunct="1">
        <a:spcBef>
          <a:spcPct val="0"/>
        </a:spcBef>
        <a:spcAft>
          <a:spcPct val="0"/>
        </a:spcAft>
        <a:defRPr sz="2400">
          <a:solidFill>
            <a:schemeClr val="bg1"/>
          </a:solidFill>
          <a:latin typeface="Verdana" pitchFamily="34" charset="0"/>
          <a:ea typeface="ＭＳ Ｐゴシック" charset="0"/>
        </a:defRPr>
      </a:lvl4pPr>
      <a:lvl5pPr algn="l" rtl="0" eaLnBrk="1" fontAlgn="base" hangingPunct="1">
        <a:spcBef>
          <a:spcPct val="0"/>
        </a:spcBef>
        <a:spcAft>
          <a:spcPct val="0"/>
        </a:spcAft>
        <a:defRPr sz="2400">
          <a:solidFill>
            <a:schemeClr val="bg1"/>
          </a:solidFill>
          <a:latin typeface="Verdana" pitchFamily="34" charset="0"/>
          <a:ea typeface="ＭＳ Ｐゴシック" charset="0"/>
        </a:defRPr>
      </a:lvl5pPr>
      <a:lvl6pPr marL="457200" algn="l" rtl="0" eaLnBrk="1" fontAlgn="base" hangingPunct="1">
        <a:spcBef>
          <a:spcPct val="0"/>
        </a:spcBef>
        <a:spcAft>
          <a:spcPct val="0"/>
        </a:spcAft>
        <a:defRPr sz="2400">
          <a:solidFill>
            <a:schemeClr val="bg1"/>
          </a:solidFill>
          <a:latin typeface="Verdana" pitchFamily="34" charset="0"/>
        </a:defRPr>
      </a:lvl6pPr>
      <a:lvl7pPr marL="914400" algn="l" rtl="0" eaLnBrk="1" fontAlgn="base" hangingPunct="1">
        <a:spcBef>
          <a:spcPct val="0"/>
        </a:spcBef>
        <a:spcAft>
          <a:spcPct val="0"/>
        </a:spcAft>
        <a:defRPr sz="2400">
          <a:solidFill>
            <a:schemeClr val="bg1"/>
          </a:solidFill>
          <a:latin typeface="Verdana" pitchFamily="34" charset="0"/>
        </a:defRPr>
      </a:lvl7pPr>
      <a:lvl8pPr marL="1371600" algn="l" rtl="0" eaLnBrk="1" fontAlgn="base" hangingPunct="1">
        <a:spcBef>
          <a:spcPct val="0"/>
        </a:spcBef>
        <a:spcAft>
          <a:spcPct val="0"/>
        </a:spcAft>
        <a:defRPr sz="2400">
          <a:solidFill>
            <a:schemeClr val="bg1"/>
          </a:solidFill>
          <a:latin typeface="Verdana" pitchFamily="34" charset="0"/>
        </a:defRPr>
      </a:lvl8pPr>
      <a:lvl9pPr marL="1828800" algn="l" rtl="0" eaLnBrk="1" fontAlgn="base" hangingPunct="1">
        <a:spcBef>
          <a:spcPct val="0"/>
        </a:spcBef>
        <a:spcAft>
          <a:spcPct val="0"/>
        </a:spcAft>
        <a:defRPr sz="2400">
          <a:solidFill>
            <a:schemeClr val="bg1"/>
          </a:solidFill>
          <a:latin typeface="Verdana" pitchFamily="34" charset="0"/>
        </a:defRPr>
      </a:lvl9pPr>
    </p:titleStyle>
    <p:bodyStyle>
      <a:lvl1pPr marL="271463" indent="-271463" algn="l" defTabSz="981075" rtl="0" eaLnBrk="1" fontAlgn="base" hangingPunct="1">
        <a:spcBef>
          <a:spcPct val="40000"/>
        </a:spcBef>
        <a:spcAft>
          <a:spcPct val="0"/>
        </a:spcAft>
        <a:buClr>
          <a:schemeClr val="tx1"/>
        </a:buClr>
        <a:buFont typeface="Verdana" charset="0"/>
        <a:buChar char="•"/>
        <a:defRPr sz="2000">
          <a:solidFill>
            <a:schemeClr val="tx1"/>
          </a:solidFill>
          <a:latin typeface="Arial" pitchFamily="34" charset="0"/>
          <a:ea typeface="ＭＳ Ｐゴシック" charset="0"/>
          <a:cs typeface="Arial" pitchFamily="34" charset="0"/>
        </a:defRPr>
      </a:lvl1pPr>
      <a:lvl2pPr marL="574675" indent="-119063" algn="l" defTabSz="981075" rtl="0" eaLnBrk="1" fontAlgn="base" hangingPunct="1">
        <a:spcBef>
          <a:spcPct val="20000"/>
        </a:spcBef>
        <a:spcAft>
          <a:spcPct val="0"/>
        </a:spcAft>
        <a:buClr>
          <a:schemeClr val="tx1"/>
        </a:buClr>
        <a:buChar char="-"/>
        <a:defRPr>
          <a:solidFill>
            <a:schemeClr val="tx1"/>
          </a:solidFill>
          <a:latin typeface="Arial" pitchFamily="34" charset="0"/>
          <a:ea typeface="ＭＳ Ｐゴシック" charset="0"/>
          <a:cs typeface="Arial" pitchFamily="34" charset="0"/>
        </a:defRPr>
      </a:lvl2pPr>
      <a:lvl3pPr marL="1052513" indent="-287338" algn="l" defTabSz="981075" rtl="0" eaLnBrk="1" fontAlgn="base" hangingPunct="1">
        <a:spcBef>
          <a:spcPct val="20000"/>
        </a:spcBef>
        <a:spcAft>
          <a:spcPct val="0"/>
        </a:spcAft>
        <a:buClr>
          <a:schemeClr val="tx1"/>
        </a:buClr>
        <a:buFont typeface="Marlett" charset="0"/>
        <a:buChar char="8"/>
        <a:defRPr>
          <a:solidFill>
            <a:schemeClr val="tx1"/>
          </a:solidFill>
          <a:latin typeface="Arial" pitchFamily="34" charset="0"/>
          <a:ea typeface="ＭＳ Ｐゴシック" charset="0"/>
          <a:cs typeface="Arial" pitchFamily="34" charset="0"/>
        </a:defRPr>
      </a:lvl3pPr>
      <a:lvl4pPr marL="1639888" indent="-206375" algn="l" defTabSz="981075" rtl="0" eaLnBrk="1" fontAlgn="base" hangingPunct="1">
        <a:spcBef>
          <a:spcPct val="20000"/>
        </a:spcBef>
        <a:spcAft>
          <a:spcPct val="0"/>
        </a:spcAft>
        <a:buClr>
          <a:schemeClr val="tx1"/>
        </a:buClr>
        <a:buFont typeface="Marlett" charset="0"/>
        <a:buChar char="8"/>
        <a:defRPr>
          <a:solidFill>
            <a:schemeClr val="tx1"/>
          </a:solidFill>
          <a:latin typeface="Arial" pitchFamily="34" charset="0"/>
          <a:ea typeface="ＭＳ Ｐゴシック" charset="0"/>
          <a:cs typeface="Arial" pitchFamily="34" charset="0"/>
        </a:defRPr>
      </a:lvl4pPr>
      <a:lvl5pPr marL="2116138" indent="-339725" algn="l" defTabSz="981075" rtl="0" eaLnBrk="1" fontAlgn="base" hangingPunct="1">
        <a:spcBef>
          <a:spcPct val="20000"/>
        </a:spcBef>
        <a:spcAft>
          <a:spcPct val="0"/>
        </a:spcAft>
        <a:buClr>
          <a:schemeClr val="tx1"/>
        </a:buClr>
        <a:buFont typeface="Marlett" charset="0"/>
        <a:buChar char="8"/>
        <a:defRPr>
          <a:solidFill>
            <a:schemeClr val="tx1"/>
          </a:solidFill>
          <a:latin typeface="Arial" pitchFamily="34" charset="0"/>
          <a:ea typeface="ＭＳ Ｐゴシック" charset="0"/>
          <a:cs typeface="Arial" pitchFamily="34" charset="0"/>
        </a:defRPr>
      </a:lvl5pPr>
      <a:lvl6pPr marL="25733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6pPr>
      <a:lvl7pPr marL="30305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7pPr>
      <a:lvl8pPr marL="34877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8pPr>
      <a:lvl9pPr marL="3944938" indent="-339725" algn="l" defTabSz="981075" rtl="0" eaLnBrk="1" fontAlgn="base" hangingPunct="1">
        <a:spcBef>
          <a:spcPct val="20000"/>
        </a:spcBef>
        <a:spcAft>
          <a:spcPct val="0"/>
        </a:spcAft>
        <a:buClr>
          <a:schemeClr val="tx1"/>
        </a:buClr>
        <a:buFont typeface="Marlett" pitchFamily="2" charset="2"/>
        <a:buChar char="8"/>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11271" name="Rectangle 7"/>
          <p:cNvSpPr>
            <a:spLocks noChangeArrowheads="1"/>
          </p:cNvSpPr>
          <p:nvPr/>
        </p:nvSpPr>
        <p:spPr bwMode="gray">
          <a:xfrm>
            <a:off x="0" y="1"/>
            <a:ext cx="9144000" cy="995082"/>
          </a:xfrm>
          <a:prstGeom prst="rect">
            <a:avLst/>
          </a:prstGeom>
          <a:solidFill>
            <a:srgbClr val="003366"/>
          </a:solidFill>
          <a:ln w="9525">
            <a:noFill/>
            <a:miter lim="800000"/>
            <a:headEnd/>
            <a:tailEnd/>
          </a:ln>
          <a:effectLst/>
        </p:spPr>
        <p:txBody>
          <a:bodyPr anchor="ctr"/>
          <a:lstStyle/>
          <a:p>
            <a:pPr marL="231775" fontAlgn="base">
              <a:spcBef>
                <a:spcPct val="0"/>
              </a:spcBef>
              <a:spcAft>
                <a:spcPct val="0"/>
              </a:spcAft>
              <a:defRPr/>
            </a:pPr>
            <a:endParaRPr lang="en-US" sz="4400" dirty="0">
              <a:solidFill>
                <a:srgbClr val="000000"/>
              </a:solidFill>
            </a:endParaRPr>
          </a:p>
        </p:txBody>
      </p:sp>
      <p:sp>
        <p:nvSpPr>
          <p:cNvPr id="11272" name="Rectangle 8"/>
          <p:cNvSpPr>
            <a:spLocks noGrp="1" noChangeArrowheads="1"/>
          </p:cNvSpPr>
          <p:nvPr>
            <p:ph type="sldNum" sz="quarter" idx="4"/>
          </p:nvPr>
        </p:nvSpPr>
        <p:spPr bwMode="auto">
          <a:xfrm>
            <a:off x="6977063" y="6577013"/>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b="0" smtClean="0">
                <a:latin typeface="Arial" charset="0"/>
              </a:defRPr>
            </a:lvl1pPr>
          </a:lstStyle>
          <a:p>
            <a:pPr fontAlgn="base">
              <a:spcBef>
                <a:spcPct val="0"/>
              </a:spcBef>
              <a:spcAft>
                <a:spcPct val="0"/>
              </a:spcAft>
              <a:defRPr/>
            </a:pPr>
            <a:fld id="{03722264-9FE0-44DA-AFA8-8B574C360A92}" type="slidenum">
              <a:rPr lang="en-US">
                <a:solidFill>
                  <a:srgbClr val="000000"/>
                </a:solidFill>
              </a:rPr>
              <a:pPr fontAlgn="base">
                <a:spcBef>
                  <a:spcPct val="0"/>
                </a:spcBef>
                <a:spcAft>
                  <a:spcPct val="0"/>
                </a:spcAft>
                <a:defRPr/>
              </a:pPr>
              <a:t>‹#›</a:t>
            </a:fld>
            <a:endParaRPr lang="en-US" dirty="0">
              <a:solidFill>
                <a:srgbClr val="000000"/>
              </a:solidFill>
            </a:endParaRPr>
          </a:p>
        </p:txBody>
      </p:sp>
      <p:sp>
        <p:nvSpPr>
          <p:cNvPr id="6" name="Title Placeholder 5"/>
          <p:cNvSpPr>
            <a:spLocks noGrp="1"/>
          </p:cNvSpPr>
          <p:nvPr>
            <p:ph type="title"/>
          </p:nvPr>
        </p:nvSpPr>
        <p:spPr>
          <a:xfrm>
            <a:off x="80682" y="-1"/>
            <a:ext cx="8229600" cy="100853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p14="http://schemas.microsoft.com/office/powerpoint/2010/main" val="1849237093"/>
      </p:ext>
    </p:extLst>
  </p:cSld>
  <p:clrMap bg1="lt1" tx1="dk1" bg2="lt2" tx2="dk2" accent1="accent1" accent2="accent2" accent3="accent3" accent4="accent4" accent5="accent5" accent6="accent6" hlink="hlink" folHlink="folHlink"/>
  <p:sldLayoutIdLst>
    <p:sldLayoutId id="2147483761" r:id="rId1"/>
    <p:sldLayoutId id="2147483762" r:id="rId2"/>
    <p:sldLayoutId id="2147483763" r:id="rId3"/>
    <p:sldLayoutId id="2147483764" r:id="rId4"/>
    <p:sldLayoutId id="2147483765" r:id="rId5"/>
    <p:sldLayoutId id="2147483766" r:id="rId6"/>
    <p:sldLayoutId id="2147483767" r:id="rId7"/>
    <p:sldLayoutId id="2147483768" r:id="rId8"/>
    <p:sldLayoutId id="2147483769" r:id="rId9"/>
    <p:sldLayoutId id="2147483770" r:id="rId10"/>
    <p:sldLayoutId id="2147483771" r:id="rId11"/>
    <p:sldLayoutId id="2147483772" r:id="rId12"/>
    <p:sldLayoutId id="2147483773" r:id="rId13"/>
    <p:sldLayoutId id="2147483774" r:id="rId14"/>
  </p:sldLayoutIdLst>
  <p:hf hdr="0" ftr="0" dt="0"/>
  <p:txStyles>
    <p:titleStyle>
      <a:lvl1pPr marL="231775" indent="-231775" algn="l" rtl="0" eaLnBrk="1" fontAlgn="base" hangingPunct="1">
        <a:spcBef>
          <a:spcPct val="0"/>
        </a:spcBef>
        <a:spcAft>
          <a:spcPct val="0"/>
        </a:spcAft>
        <a:defRPr sz="2400">
          <a:solidFill>
            <a:schemeClr val="bg1"/>
          </a:solidFill>
          <a:latin typeface="+mj-lt"/>
          <a:ea typeface="+mj-ea"/>
          <a:cs typeface="+mj-cs"/>
        </a:defRPr>
      </a:lvl1pPr>
      <a:lvl2pPr marL="231775" indent="-231775" algn="ctr" rtl="0" eaLnBrk="1" fontAlgn="base" hangingPunct="1">
        <a:spcBef>
          <a:spcPct val="0"/>
        </a:spcBef>
        <a:spcAft>
          <a:spcPct val="0"/>
        </a:spcAft>
        <a:defRPr sz="4400">
          <a:solidFill>
            <a:schemeClr val="tx2"/>
          </a:solidFill>
          <a:latin typeface="Arial" charset="0"/>
        </a:defRPr>
      </a:lvl2pPr>
      <a:lvl3pPr marL="231775" indent="-231775" algn="ctr" rtl="0" eaLnBrk="1" fontAlgn="base" hangingPunct="1">
        <a:spcBef>
          <a:spcPct val="0"/>
        </a:spcBef>
        <a:spcAft>
          <a:spcPct val="0"/>
        </a:spcAft>
        <a:defRPr sz="4400">
          <a:solidFill>
            <a:schemeClr val="tx2"/>
          </a:solidFill>
          <a:latin typeface="Arial" charset="0"/>
        </a:defRPr>
      </a:lvl3pPr>
      <a:lvl4pPr marL="231775" indent="-231775" algn="ctr" rtl="0" eaLnBrk="1" fontAlgn="base" hangingPunct="1">
        <a:spcBef>
          <a:spcPct val="0"/>
        </a:spcBef>
        <a:spcAft>
          <a:spcPct val="0"/>
        </a:spcAft>
        <a:defRPr sz="4400">
          <a:solidFill>
            <a:schemeClr val="tx2"/>
          </a:solidFill>
          <a:latin typeface="Arial" charset="0"/>
        </a:defRPr>
      </a:lvl4pPr>
      <a:lvl5pPr marL="231775" indent="-231775" algn="ctr" rtl="0" eaLnBrk="1" fontAlgn="base" hangingPunct="1">
        <a:spcBef>
          <a:spcPct val="0"/>
        </a:spcBef>
        <a:spcAft>
          <a:spcPct val="0"/>
        </a:spcAft>
        <a:defRPr sz="4400">
          <a:solidFill>
            <a:schemeClr val="tx2"/>
          </a:solidFill>
          <a:latin typeface="Arial" charset="0"/>
        </a:defRPr>
      </a:lvl5pPr>
      <a:lvl6pPr marL="688975" algn="ctr" rtl="0" eaLnBrk="1" fontAlgn="base" hangingPunct="1">
        <a:spcBef>
          <a:spcPct val="0"/>
        </a:spcBef>
        <a:spcAft>
          <a:spcPct val="0"/>
        </a:spcAft>
        <a:defRPr sz="4400">
          <a:solidFill>
            <a:schemeClr val="tx2"/>
          </a:solidFill>
          <a:latin typeface="Arial" charset="0"/>
        </a:defRPr>
      </a:lvl6pPr>
      <a:lvl7pPr marL="1146175" algn="ctr" rtl="0" eaLnBrk="1" fontAlgn="base" hangingPunct="1">
        <a:spcBef>
          <a:spcPct val="0"/>
        </a:spcBef>
        <a:spcAft>
          <a:spcPct val="0"/>
        </a:spcAft>
        <a:defRPr sz="4400">
          <a:solidFill>
            <a:schemeClr val="tx2"/>
          </a:solidFill>
          <a:latin typeface="Arial" charset="0"/>
        </a:defRPr>
      </a:lvl7pPr>
      <a:lvl8pPr marL="1603375" algn="ctr" rtl="0" eaLnBrk="1" fontAlgn="base" hangingPunct="1">
        <a:spcBef>
          <a:spcPct val="0"/>
        </a:spcBef>
        <a:spcAft>
          <a:spcPct val="0"/>
        </a:spcAft>
        <a:defRPr sz="4400">
          <a:solidFill>
            <a:schemeClr val="tx2"/>
          </a:solidFill>
          <a:latin typeface="Arial" charset="0"/>
        </a:defRPr>
      </a:lvl8pPr>
      <a:lvl9pPr marL="2060575" algn="ctr" rtl="0" eaLnBrk="1" fontAlgn="base" hangingPunct="1">
        <a:spcBef>
          <a:spcPct val="0"/>
        </a:spcBef>
        <a:spcAft>
          <a:spcPct val="0"/>
        </a:spcAft>
        <a:defRPr sz="4400">
          <a:solidFill>
            <a:schemeClr val="tx2"/>
          </a:solidFill>
          <a:latin typeface="Arial" charset="0"/>
        </a:defRPr>
      </a:lvl9pPr>
    </p:titleStyle>
    <p:bodyStyle>
      <a:lvl1pPr marL="342900" indent="-342900" algn="l" rtl="0" eaLnBrk="1" fontAlgn="base" hangingPunct="1">
        <a:spcBef>
          <a:spcPct val="20000"/>
        </a:spcBef>
        <a:spcAft>
          <a:spcPct val="0"/>
        </a:spcAft>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bwMode="auto">
      <p:bgPr>
        <a:solidFill>
          <a:schemeClr val="bg1"/>
        </a:solidFill>
        <a:effectLst/>
      </p:bgPr>
    </p:bg>
    <p:spTree>
      <p:nvGrpSpPr>
        <p:cNvPr id="1" name=""/>
        <p:cNvGrpSpPr/>
        <p:nvPr/>
      </p:nvGrpSpPr>
      <p:grpSpPr>
        <a:xfrm>
          <a:off x="0" y="0"/>
          <a:ext cx="0" cy="0"/>
          <a:chOff x="0" y="0"/>
          <a:chExt cx="0" cy="0"/>
        </a:xfrm>
      </p:grpSpPr>
      <p:sp>
        <p:nvSpPr>
          <p:cNvPr id="11271" name="Rectangle 7"/>
          <p:cNvSpPr>
            <a:spLocks noChangeArrowheads="1"/>
          </p:cNvSpPr>
          <p:nvPr/>
        </p:nvSpPr>
        <p:spPr bwMode="gray">
          <a:xfrm>
            <a:off x="0" y="1"/>
            <a:ext cx="9144000" cy="995082"/>
          </a:xfrm>
          <a:prstGeom prst="rect">
            <a:avLst/>
          </a:prstGeom>
          <a:solidFill>
            <a:srgbClr val="003366"/>
          </a:solidFill>
          <a:ln w="9525">
            <a:noFill/>
            <a:miter lim="800000"/>
            <a:headEnd/>
            <a:tailEnd/>
          </a:ln>
          <a:effectLst/>
        </p:spPr>
        <p:txBody>
          <a:bodyPr anchor="ctr"/>
          <a:lstStyle/>
          <a:p>
            <a:pPr marL="231775" fontAlgn="base">
              <a:spcBef>
                <a:spcPct val="0"/>
              </a:spcBef>
              <a:spcAft>
                <a:spcPct val="0"/>
              </a:spcAft>
              <a:defRPr/>
            </a:pPr>
            <a:endParaRPr lang="en-US" sz="4400" dirty="0">
              <a:solidFill>
                <a:srgbClr val="000000"/>
              </a:solidFill>
              <a:latin typeface="Arial" charset="0"/>
            </a:endParaRPr>
          </a:p>
        </p:txBody>
      </p:sp>
      <p:sp>
        <p:nvSpPr>
          <p:cNvPr id="11272" name="Rectangle 8"/>
          <p:cNvSpPr>
            <a:spLocks noGrp="1" noChangeArrowheads="1"/>
          </p:cNvSpPr>
          <p:nvPr>
            <p:ph type="sldNum" sz="quarter" idx="4"/>
          </p:nvPr>
        </p:nvSpPr>
        <p:spPr bwMode="auto">
          <a:xfrm>
            <a:off x="6977063" y="6577013"/>
            <a:ext cx="2133600" cy="4762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b="0" smtClean="0">
                <a:latin typeface="Arial" charset="0"/>
              </a:defRPr>
            </a:lvl1pPr>
          </a:lstStyle>
          <a:p>
            <a:pPr fontAlgn="base">
              <a:spcBef>
                <a:spcPct val="0"/>
              </a:spcBef>
              <a:spcAft>
                <a:spcPct val="0"/>
              </a:spcAft>
              <a:defRPr/>
            </a:pPr>
            <a:fld id="{03722264-9FE0-44DA-AFA8-8B574C360A92}" type="slidenum">
              <a:rPr lang="en-US">
                <a:solidFill>
                  <a:srgbClr val="000000"/>
                </a:solidFill>
              </a:rPr>
              <a:pPr fontAlgn="base">
                <a:spcBef>
                  <a:spcPct val="0"/>
                </a:spcBef>
                <a:spcAft>
                  <a:spcPct val="0"/>
                </a:spcAft>
                <a:defRPr/>
              </a:pPr>
              <a:t>‹#›</a:t>
            </a:fld>
            <a:endParaRPr lang="en-US" dirty="0">
              <a:solidFill>
                <a:srgbClr val="000000"/>
              </a:solidFill>
            </a:endParaRPr>
          </a:p>
        </p:txBody>
      </p:sp>
      <p:sp>
        <p:nvSpPr>
          <p:cNvPr id="6" name="Title Placeholder 5"/>
          <p:cNvSpPr>
            <a:spLocks noGrp="1"/>
          </p:cNvSpPr>
          <p:nvPr>
            <p:ph type="title"/>
          </p:nvPr>
        </p:nvSpPr>
        <p:spPr>
          <a:xfrm>
            <a:off x="80682" y="-1"/>
            <a:ext cx="8229600" cy="1008530"/>
          </a:xfrm>
          <a:prstGeom prst="rect">
            <a:avLst/>
          </a:prstGeom>
        </p:spPr>
        <p:txBody>
          <a:bodyPr vert="horz" lIns="91440" tIns="45720" rIns="91440" bIns="45720" rtlCol="0" anchor="ctr">
            <a:normAutofit/>
          </a:bodyPr>
          <a:lstStyle/>
          <a:p>
            <a:r>
              <a:rPr lang="en-US" smtClean="0"/>
              <a:t>Click to edit Master title style</a:t>
            </a:r>
            <a:endParaRPr lang="en-US"/>
          </a:p>
        </p:txBody>
      </p:sp>
    </p:spTree>
    <p:extLst>
      <p:ext uri="{BB962C8B-B14F-4D97-AF65-F5344CB8AC3E}">
        <p14:creationId xmlns:p14="http://schemas.microsoft.com/office/powerpoint/2010/main" val="2588343986"/>
      </p:ext>
    </p:extLst>
  </p:cSld>
  <p:clrMap bg1="lt1" tx1="dk1" bg2="lt2" tx2="dk2" accent1="accent1" accent2="accent2" accent3="accent3" accent4="accent4" accent5="accent5" accent6="accent6" hlink="hlink" folHlink="folHlink"/>
  <p:sldLayoutIdLst>
    <p:sldLayoutId id="2147483806" r:id="rId1"/>
    <p:sldLayoutId id="2147483807" r:id="rId2"/>
    <p:sldLayoutId id="2147483808" r:id="rId3"/>
    <p:sldLayoutId id="2147483809" r:id="rId4"/>
    <p:sldLayoutId id="2147483810" r:id="rId5"/>
    <p:sldLayoutId id="2147483811" r:id="rId6"/>
    <p:sldLayoutId id="2147483812" r:id="rId7"/>
    <p:sldLayoutId id="2147483813" r:id="rId8"/>
    <p:sldLayoutId id="2147483814" r:id="rId9"/>
    <p:sldLayoutId id="2147483815" r:id="rId10"/>
    <p:sldLayoutId id="2147483816" r:id="rId11"/>
    <p:sldLayoutId id="2147483817" r:id="rId12"/>
    <p:sldLayoutId id="2147483818" r:id="rId13"/>
    <p:sldLayoutId id="2147483819" r:id="rId14"/>
  </p:sldLayoutIdLst>
  <p:hf hdr="0" ftr="0" dt="0"/>
  <p:txStyles>
    <p:titleStyle>
      <a:lvl1pPr marL="231775" indent="-231775" algn="l" rtl="0" eaLnBrk="1" fontAlgn="base" hangingPunct="1">
        <a:spcBef>
          <a:spcPct val="0"/>
        </a:spcBef>
        <a:spcAft>
          <a:spcPct val="0"/>
        </a:spcAft>
        <a:defRPr sz="2400">
          <a:solidFill>
            <a:schemeClr val="bg1"/>
          </a:solidFill>
          <a:latin typeface="+mj-lt"/>
          <a:ea typeface="+mj-ea"/>
          <a:cs typeface="+mj-cs"/>
        </a:defRPr>
      </a:lvl1pPr>
      <a:lvl2pPr marL="231775" indent="-231775" algn="ctr" rtl="0" eaLnBrk="1" fontAlgn="base" hangingPunct="1">
        <a:spcBef>
          <a:spcPct val="0"/>
        </a:spcBef>
        <a:spcAft>
          <a:spcPct val="0"/>
        </a:spcAft>
        <a:defRPr sz="4400">
          <a:solidFill>
            <a:schemeClr val="tx2"/>
          </a:solidFill>
          <a:latin typeface="Arial" charset="0"/>
        </a:defRPr>
      </a:lvl2pPr>
      <a:lvl3pPr marL="231775" indent="-231775" algn="ctr" rtl="0" eaLnBrk="1" fontAlgn="base" hangingPunct="1">
        <a:spcBef>
          <a:spcPct val="0"/>
        </a:spcBef>
        <a:spcAft>
          <a:spcPct val="0"/>
        </a:spcAft>
        <a:defRPr sz="4400">
          <a:solidFill>
            <a:schemeClr val="tx2"/>
          </a:solidFill>
          <a:latin typeface="Arial" charset="0"/>
        </a:defRPr>
      </a:lvl3pPr>
      <a:lvl4pPr marL="231775" indent="-231775" algn="ctr" rtl="0" eaLnBrk="1" fontAlgn="base" hangingPunct="1">
        <a:spcBef>
          <a:spcPct val="0"/>
        </a:spcBef>
        <a:spcAft>
          <a:spcPct val="0"/>
        </a:spcAft>
        <a:defRPr sz="4400">
          <a:solidFill>
            <a:schemeClr val="tx2"/>
          </a:solidFill>
          <a:latin typeface="Arial" charset="0"/>
        </a:defRPr>
      </a:lvl4pPr>
      <a:lvl5pPr marL="231775" indent="-231775" algn="ctr" rtl="0" eaLnBrk="1" fontAlgn="base" hangingPunct="1">
        <a:spcBef>
          <a:spcPct val="0"/>
        </a:spcBef>
        <a:spcAft>
          <a:spcPct val="0"/>
        </a:spcAft>
        <a:defRPr sz="4400">
          <a:solidFill>
            <a:schemeClr val="tx2"/>
          </a:solidFill>
          <a:latin typeface="Arial" charset="0"/>
        </a:defRPr>
      </a:lvl5pPr>
      <a:lvl6pPr marL="688975" algn="ctr" rtl="0" eaLnBrk="1" fontAlgn="base" hangingPunct="1">
        <a:spcBef>
          <a:spcPct val="0"/>
        </a:spcBef>
        <a:spcAft>
          <a:spcPct val="0"/>
        </a:spcAft>
        <a:defRPr sz="4400">
          <a:solidFill>
            <a:schemeClr val="tx2"/>
          </a:solidFill>
          <a:latin typeface="Arial" charset="0"/>
        </a:defRPr>
      </a:lvl6pPr>
      <a:lvl7pPr marL="1146175" algn="ctr" rtl="0" eaLnBrk="1" fontAlgn="base" hangingPunct="1">
        <a:spcBef>
          <a:spcPct val="0"/>
        </a:spcBef>
        <a:spcAft>
          <a:spcPct val="0"/>
        </a:spcAft>
        <a:defRPr sz="4400">
          <a:solidFill>
            <a:schemeClr val="tx2"/>
          </a:solidFill>
          <a:latin typeface="Arial" charset="0"/>
        </a:defRPr>
      </a:lvl7pPr>
      <a:lvl8pPr marL="1603375" algn="ctr" rtl="0" eaLnBrk="1" fontAlgn="base" hangingPunct="1">
        <a:spcBef>
          <a:spcPct val="0"/>
        </a:spcBef>
        <a:spcAft>
          <a:spcPct val="0"/>
        </a:spcAft>
        <a:defRPr sz="4400">
          <a:solidFill>
            <a:schemeClr val="tx2"/>
          </a:solidFill>
          <a:latin typeface="Arial" charset="0"/>
        </a:defRPr>
      </a:lvl8pPr>
      <a:lvl9pPr marL="2060575" algn="ctr" rtl="0" eaLnBrk="1" fontAlgn="base" hangingPunct="1">
        <a:spcBef>
          <a:spcPct val="0"/>
        </a:spcBef>
        <a:spcAft>
          <a:spcPct val="0"/>
        </a:spcAft>
        <a:defRPr sz="4400">
          <a:solidFill>
            <a:schemeClr val="tx2"/>
          </a:solidFill>
          <a:latin typeface="Arial" charset="0"/>
        </a:defRPr>
      </a:lvl9pPr>
    </p:titleStyle>
    <p:bodyStyle>
      <a:lvl1pPr marL="342900" indent="-342900" algn="l" rtl="0" eaLnBrk="1" fontAlgn="base" hangingPunct="1">
        <a:spcBef>
          <a:spcPct val="20000"/>
        </a:spcBef>
        <a:spcAft>
          <a:spcPct val="0"/>
        </a:spcAft>
        <a:buChar char="•"/>
        <a:defRPr sz="3200">
          <a:solidFill>
            <a:schemeClr val="tx1"/>
          </a:solidFill>
          <a:latin typeface="+mn-lt"/>
          <a:ea typeface="+mn-ea"/>
          <a:cs typeface="+mn-cs"/>
        </a:defRPr>
      </a:lvl1pPr>
      <a:lvl2pPr marL="742950" indent="-285750" algn="l" rtl="0" eaLnBrk="1" fontAlgn="base" hangingPunct="1">
        <a:spcBef>
          <a:spcPct val="20000"/>
        </a:spcBef>
        <a:spcAft>
          <a:spcPct val="0"/>
        </a:spcAft>
        <a:buChar char="–"/>
        <a:defRPr sz="2800">
          <a:solidFill>
            <a:schemeClr val="tx1"/>
          </a:solidFill>
          <a:latin typeface="+mn-lt"/>
        </a:defRPr>
      </a:lvl2pPr>
      <a:lvl3pPr marL="1143000" indent="-228600" algn="l" rtl="0" eaLnBrk="1" fontAlgn="base" hangingPunct="1">
        <a:spcBef>
          <a:spcPct val="20000"/>
        </a:spcBef>
        <a:spcAft>
          <a:spcPct val="0"/>
        </a:spcAft>
        <a:buChar char="•"/>
        <a:defRPr sz="2400">
          <a:solidFill>
            <a:schemeClr val="tx1"/>
          </a:solidFill>
          <a:latin typeface="+mn-lt"/>
        </a:defRPr>
      </a:lvl3pPr>
      <a:lvl4pPr marL="1600200" indent="-228600" algn="l" rtl="0" eaLnBrk="1" fontAlgn="base" hangingPunct="1">
        <a:spcBef>
          <a:spcPct val="20000"/>
        </a:spcBef>
        <a:spcAft>
          <a:spcPct val="0"/>
        </a:spcAft>
        <a:buChar char="–"/>
        <a:defRPr sz="2000">
          <a:solidFill>
            <a:schemeClr val="tx1"/>
          </a:solidFill>
          <a:latin typeface="+mn-lt"/>
        </a:defRPr>
      </a:lvl4pPr>
      <a:lvl5pPr marL="2057400" indent="-228600" algn="l" rtl="0" eaLnBrk="1" fontAlgn="base" hangingPunct="1">
        <a:spcBef>
          <a:spcPct val="20000"/>
        </a:spcBef>
        <a:spcAft>
          <a:spcPct val="0"/>
        </a:spcAft>
        <a:buChar char="»"/>
        <a:defRPr sz="2000">
          <a:solidFill>
            <a:schemeClr val="tx1"/>
          </a:solidFill>
          <a:latin typeface="+mn-lt"/>
        </a:defRPr>
      </a:lvl5pPr>
      <a:lvl6pPr marL="2514600" indent="-228600" algn="l" rtl="0" eaLnBrk="1" fontAlgn="base" hangingPunct="1">
        <a:spcBef>
          <a:spcPct val="20000"/>
        </a:spcBef>
        <a:spcAft>
          <a:spcPct val="0"/>
        </a:spcAft>
        <a:buChar char="»"/>
        <a:defRPr sz="2000">
          <a:solidFill>
            <a:schemeClr val="tx1"/>
          </a:solidFill>
          <a:latin typeface="+mn-lt"/>
        </a:defRPr>
      </a:lvl6pPr>
      <a:lvl7pPr marL="2971800" indent="-228600" algn="l" rtl="0" eaLnBrk="1" fontAlgn="base" hangingPunct="1">
        <a:spcBef>
          <a:spcPct val="20000"/>
        </a:spcBef>
        <a:spcAft>
          <a:spcPct val="0"/>
        </a:spcAft>
        <a:buChar char="»"/>
        <a:defRPr sz="2000">
          <a:solidFill>
            <a:schemeClr val="tx1"/>
          </a:solidFill>
          <a:latin typeface="+mn-lt"/>
        </a:defRPr>
      </a:lvl7pPr>
      <a:lvl8pPr marL="3429000" indent="-228600" algn="l" rtl="0" eaLnBrk="1" fontAlgn="base" hangingPunct="1">
        <a:spcBef>
          <a:spcPct val="20000"/>
        </a:spcBef>
        <a:spcAft>
          <a:spcPct val="0"/>
        </a:spcAft>
        <a:buChar char="»"/>
        <a:defRPr sz="2000">
          <a:solidFill>
            <a:schemeClr val="tx1"/>
          </a:solidFill>
          <a:latin typeface="+mn-lt"/>
        </a:defRPr>
      </a:lvl8pPr>
      <a:lvl9pPr marL="3886200" indent="-228600" algn="l" rtl="0" eaLnBrk="1" fontAlgn="base" hangingPunct="1">
        <a:spcBef>
          <a:spcPct val="20000"/>
        </a:spcBef>
        <a:spcAft>
          <a:spcPct val="0"/>
        </a:spcAft>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1143000"/>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600200"/>
            <a:ext cx="8229600" cy="4525963"/>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9EF34C2D-91D6-384D-8CA1-75170FE17E47}" type="datetimeFigureOut">
              <a:rPr lang="en-US" smtClean="0">
                <a:solidFill>
                  <a:prstClr val="black">
                    <a:tint val="75000"/>
                  </a:prstClr>
                </a:solidFill>
                <a:latin typeface="Calibri"/>
              </a:rPr>
              <a:pPr/>
              <a:t>7/26/18</a:t>
            </a:fld>
            <a:endParaRPr lang="en-US">
              <a:solidFill>
                <a:prstClr val="black">
                  <a:tint val="75000"/>
                </a:prstClr>
              </a:solidFill>
              <a:latin typeface="Calibri"/>
            </a:endParaRPr>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solidFill>
                <a:prstClr val="black">
                  <a:tint val="75000"/>
                </a:prstClr>
              </a:solidFill>
              <a:latin typeface="Calibri"/>
            </a:endParaRPr>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457200"/>
            <a:fld id="{6EA8D270-DAAB-1D48-AD6B-8043B7827426}" type="slidenum">
              <a:rPr lang="en-US" smtClean="0">
                <a:solidFill>
                  <a:srgbClr val="000000"/>
                </a:solidFill>
                <a:latin typeface="Calibri"/>
              </a:rPr>
              <a:pPr defTabSz="457200"/>
              <a:t>‹#›</a:t>
            </a:fld>
            <a:endParaRPr lang="en-US" dirty="0">
              <a:solidFill>
                <a:srgbClr val="000000"/>
              </a:solidFill>
              <a:latin typeface="Calibri"/>
            </a:endParaRPr>
          </a:p>
        </p:txBody>
      </p:sp>
    </p:spTree>
    <p:extLst>
      <p:ext uri="{BB962C8B-B14F-4D97-AF65-F5344CB8AC3E}">
        <p14:creationId xmlns:p14="http://schemas.microsoft.com/office/powerpoint/2010/main" val="2513634576"/>
      </p:ext>
    </p:extLst>
  </p:cSld>
  <p:clrMap bg1="lt1" tx1="dk1" bg2="lt2" tx2="dk2" accent1="accent1" accent2="accent2" accent3="accent3" accent4="accent4" accent5="accent5" accent6="accent6" hlink="hlink" folHlink="folHlink"/>
  <p:sldLayoutIdLst>
    <p:sldLayoutId id="2147483821" r:id="rId1"/>
    <p:sldLayoutId id="2147483822" r:id="rId2"/>
    <p:sldLayoutId id="2147483823" r:id="rId3"/>
    <p:sldLayoutId id="2147483824" r:id="rId4"/>
    <p:sldLayoutId id="2147483825" r:id="rId5"/>
    <p:sldLayoutId id="2147483826" r:id="rId6"/>
    <p:sldLayoutId id="2147483827" r:id="rId7"/>
    <p:sldLayoutId id="2147483828" r:id="rId8"/>
    <p:sldLayoutId id="2147483829" r:id="rId9"/>
    <p:sldLayoutId id="2147483830" r:id="rId10"/>
    <p:sldLayoutId id="2147483831" r:id="rId11"/>
  </p:sldLayoutIdLst>
  <p:hf hdr="0" ftr="0" dt="0"/>
  <p:txStyles>
    <p:titleStyle>
      <a:lvl1pPr algn="ctr" defTabSz="457200" rtl="0" eaLnBrk="1" latinLnBrk="0" hangingPunct="1">
        <a:spcBef>
          <a:spcPct val="0"/>
        </a:spcBef>
        <a:buNone/>
        <a:defRPr sz="4400" kern="1200">
          <a:solidFill>
            <a:schemeClr val="tx1"/>
          </a:solidFill>
          <a:latin typeface="+mj-lt"/>
          <a:ea typeface="+mj-ea"/>
          <a:cs typeface="+mj-cs"/>
        </a:defRPr>
      </a:lvl1pPr>
    </p:titleStyle>
    <p:bodyStyle>
      <a:lvl1pPr marL="342900" indent="-342900" algn="l" defTabSz="457200" rtl="0" eaLnBrk="1" latinLnBrk="0" hangingPunct="1">
        <a:spcBef>
          <a:spcPct val="20000"/>
        </a:spcBef>
        <a:buFont typeface="Arial"/>
        <a:buChar char="•"/>
        <a:defRPr sz="3200" kern="1200">
          <a:solidFill>
            <a:schemeClr val="tx1"/>
          </a:solidFill>
          <a:latin typeface="+mn-lt"/>
          <a:ea typeface="+mn-ea"/>
          <a:cs typeface="+mn-cs"/>
        </a:defRPr>
      </a:lvl1pPr>
      <a:lvl2pPr marL="742950" indent="-285750" algn="l" defTabSz="457200" rtl="0" eaLnBrk="1" latinLnBrk="0" hangingPunct="1">
        <a:spcBef>
          <a:spcPct val="20000"/>
        </a:spcBef>
        <a:buFont typeface="Arial"/>
        <a:buChar char="–"/>
        <a:defRPr sz="2800" kern="1200">
          <a:solidFill>
            <a:schemeClr val="tx1"/>
          </a:solidFill>
          <a:latin typeface="+mn-lt"/>
          <a:ea typeface="+mn-ea"/>
          <a:cs typeface="+mn-cs"/>
        </a:defRPr>
      </a:lvl2pPr>
      <a:lvl3pPr marL="1143000" indent="-228600" algn="l" defTabSz="457200" rtl="0" eaLnBrk="1" latinLnBrk="0" hangingPunct="1">
        <a:spcBef>
          <a:spcPct val="20000"/>
        </a:spcBef>
        <a:buFont typeface="Arial"/>
        <a:buChar char="•"/>
        <a:defRPr sz="2400" kern="1200">
          <a:solidFill>
            <a:schemeClr val="tx1"/>
          </a:solidFill>
          <a:latin typeface="+mn-lt"/>
          <a:ea typeface="+mn-ea"/>
          <a:cs typeface="+mn-cs"/>
        </a:defRPr>
      </a:lvl3pPr>
      <a:lvl4pPr marL="1600200" indent="-228600" algn="l" defTabSz="457200" rtl="0" eaLnBrk="1" latinLnBrk="0" hangingPunct="1">
        <a:spcBef>
          <a:spcPct val="20000"/>
        </a:spcBef>
        <a:buFont typeface="Arial"/>
        <a:buChar char="–"/>
        <a:defRPr sz="2000" kern="1200">
          <a:solidFill>
            <a:schemeClr val="tx1"/>
          </a:solidFill>
          <a:latin typeface="+mn-lt"/>
          <a:ea typeface="+mn-ea"/>
          <a:cs typeface="+mn-cs"/>
        </a:defRPr>
      </a:lvl4pPr>
      <a:lvl5pPr marL="2057400" indent="-228600" algn="l" defTabSz="457200" rtl="0" eaLnBrk="1" latinLnBrk="0" hangingPunct="1">
        <a:spcBef>
          <a:spcPct val="20000"/>
        </a:spcBef>
        <a:buFont typeface="Arial"/>
        <a:buChar char="»"/>
        <a:defRPr sz="2000" kern="1200">
          <a:solidFill>
            <a:schemeClr val="tx1"/>
          </a:solidFill>
          <a:latin typeface="+mn-lt"/>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chart" Target="../charts/chart1.xml"/><Relationship Id="rId4" Type="http://schemas.openxmlformats.org/officeDocument/2006/relationships/chart" Target="../charts/chart2.xml"/><Relationship Id="rId1" Type="http://schemas.openxmlformats.org/officeDocument/2006/relationships/slideLayout" Target="../slideLayouts/slideLayout77.xml"/><Relationship Id="rId2"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18.png"/><Relationship Id="rId4" Type="http://schemas.openxmlformats.org/officeDocument/2006/relationships/image" Target="../media/image19.png"/><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63.xml"/><Relationship Id="rId2" Type="http://schemas.openxmlformats.org/officeDocument/2006/relationships/notesSlide" Target="../notesSlides/notesSlide2.xml"/></Relationships>
</file>

<file path=ppt/slides/_rels/slide3.xml.rels><?xml version="1.0" encoding="UTF-8" standalone="yes"?>
<Relationships xmlns="http://schemas.openxmlformats.org/package/2006/relationships"><Relationship Id="rId3" Type="http://schemas.openxmlformats.org/officeDocument/2006/relationships/image" Target="../media/image9.png"/><Relationship Id="rId4" Type="http://schemas.openxmlformats.org/officeDocument/2006/relationships/image" Target="../media/image10.png"/><Relationship Id="rId5" Type="http://schemas.openxmlformats.org/officeDocument/2006/relationships/image" Target="../media/image11.png"/><Relationship Id="rId1" Type="http://schemas.openxmlformats.org/officeDocument/2006/relationships/slideLayout" Target="../slideLayouts/slideLayout6.xml"/><Relationship Id="rId2" Type="http://schemas.openxmlformats.org/officeDocument/2006/relationships/notesSlide" Target="../notesSlides/notesSlide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notesSlide" Target="../notesSlides/notesSlide4.xml"/><Relationship Id="rId3" Type="http://schemas.openxmlformats.org/officeDocument/2006/relationships/hyperlink" Target="http://childrenandaids.org/sites/default/files/poc-toolkit/Integrated%20EID-VL%20Product%20and%20Site%20Selection%20Analysis%20Tool%20102015%20_v3.xlsm" TargetMode="Externa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9.xml"/><Relationship Id="rId2" Type="http://schemas.openxmlformats.org/officeDocument/2006/relationships/image" Target="../media/image12.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9.xml"/><Relationship Id="rId2" Type="http://schemas.openxmlformats.org/officeDocument/2006/relationships/image" Target="../media/image13.PNG"/><Relationship Id="rId3" Type="http://schemas.openxmlformats.org/officeDocument/2006/relationships/image" Target="../media/image14.PN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49.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9.xml"/><Relationship Id="rId2" Type="http://schemas.openxmlformats.org/officeDocument/2006/relationships/image" Target="../media/image15.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9.xml"/><Relationship Id="rId2" Type="http://schemas.openxmlformats.org/officeDocument/2006/relationships/image" Target="../media/image16.PNG"/><Relationship Id="rId3" Type="http://schemas.openxmlformats.org/officeDocument/2006/relationships/image" Target="../media/image1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 name="Chart 11"/>
          <p:cNvGraphicFramePr>
            <a:graphicFrameLocks/>
          </p:cNvGraphicFramePr>
          <p:nvPr>
            <p:extLst>
              <p:ext uri="{D42A27DB-BD31-4B8C-83A1-F6EECF244321}">
                <p14:modId xmlns:p14="http://schemas.microsoft.com/office/powerpoint/2010/main" val="4288817378"/>
              </p:ext>
            </p:extLst>
          </p:nvPr>
        </p:nvGraphicFramePr>
        <p:xfrm>
          <a:off x="4343399" y="1823675"/>
          <a:ext cx="4800601" cy="2971800"/>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10" name="Chart 9"/>
          <p:cNvGraphicFramePr>
            <a:graphicFrameLocks/>
          </p:cNvGraphicFramePr>
          <p:nvPr>
            <p:extLst>
              <p:ext uri="{D42A27DB-BD31-4B8C-83A1-F6EECF244321}">
                <p14:modId xmlns:p14="http://schemas.microsoft.com/office/powerpoint/2010/main" val="1241170289"/>
              </p:ext>
            </p:extLst>
          </p:nvPr>
        </p:nvGraphicFramePr>
        <p:xfrm>
          <a:off x="0" y="1752600"/>
          <a:ext cx="4495800" cy="2814275"/>
        </p:xfrm>
        <a:graphic>
          <a:graphicData uri="http://schemas.openxmlformats.org/drawingml/2006/chart">
            <c:chart xmlns:c="http://schemas.openxmlformats.org/drawingml/2006/chart" xmlns:r="http://schemas.openxmlformats.org/officeDocument/2006/relationships" r:id="rId4"/>
          </a:graphicData>
        </a:graphic>
      </p:graphicFrame>
      <p:sp>
        <p:nvSpPr>
          <p:cNvPr id="148" name="Rectangle 147"/>
          <p:cNvSpPr/>
          <p:nvPr/>
        </p:nvSpPr>
        <p:spPr bwMode="auto">
          <a:xfrm>
            <a:off x="1066800" y="2509475"/>
            <a:ext cx="3110312" cy="914020"/>
          </a:xfrm>
          <a:prstGeom prst="rect">
            <a:avLst/>
          </a:prstGeom>
          <a:solidFill>
            <a:schemeClr val="bg1"/>
          </a:solidFill>
          <a:ln w="9525" cap="flat" cmpd="sng" algn="ctr">
            <a:solidFill>
              <a:schemeClr val="tx1"/>
            </a:solidFill>
            <a:prstDash val="sysDash"/>
            <a:round/>
            <a:headEnd type="none" w="med" len="med"/>
            <a:tailEnd type="none" w="med" len="med"/>
          </a:ln>
          <a:effectLst/>
        </p:spPr>
        <p:txBody>
          <a:bodyPr vert="horz" wrap="square" lIns="99440" tIns="49721" rIns="99440" bIns="49721" numCol="1" rtlCol="0" anchor="ctr" anchorCtr="0" compatLnSpc="1">
            <a:prstTxWarp prst="textNoShape">
              <a:avLst/>
            </a:prstTxWarp>
          </a:bodyPr>
          <a:lstStyle/>
          <a:p>
            <a:pPr algn="ctr"/>
            <a:r>
              <a:rPr lang="en-US" sz="1200" b="1" dirty="0" smtClean="0">
                <a:solidFill>
                  <a:prstClr val="black"/>
                </a:solidFill>
                <a:latin typeface="Calibri"/>
              </a:rPr>
              <a:t>80% of patients at 26% of sites</a:t>
            </a:r>
          </a:p>
          <a:p>
            <a:pPr algn="ctr"/>
            <a:r>
              <a:rPr lang="en-US" sz="1200" dirty="0" smtClean="0">
                <a:solidFill>
                  <a:prstClr val="black"/>
                </a:solidFill>
                <a:latin typeface="Calibri"/>
              </a:rPr>
              <a:t>10</a:t>
            </a:r>
            <a:r>
              <a:rPr lang="en-US" sz="1200" dirty="0">
                <a:solidFill>
                  <a:prstClr val="black"/>
                </a:solidFill>
                <a:latin typeface="Calibri"/>
              </a:rPr>
              <a:t>% of sites account for 59% of </a:t>
            </a:r>
            <a:r>
              <a:rPr lang="en-US" sz="1200" dirty="0" smtClean="0">
                <a:solidFill>
                  <a:prstClr val="black"/>
                </a:solidFill>
                <a:latin typeface="Calibri"/>
              </a:rPr>
              <a:t>patients</a:t>
            </a:r>
            <a:endParaRPr lang="en-US" sz="1200" dirty="0">
              <a:solidFill>
                <a:prstClr val="black"/>
              </a:solidFill>
              <a:latin typeface="Calibri"/>
            </a:endParaRPr>
          </a:p>
          <a:p>
            <a:pPr algn="ctr"/>
            <a:r>
              <a:rPr lang="en-US" sz="1200" dirty="0" smtClean="0">
                <a:solidFill>
                  <a:prstClr val="black"/>
                </a:solidFill>
                <a:latin typeface="Calibri"/>
              </a:rPr>
              <a:t>5</a:t>
            </a:r>
            <a:r>
              <a:rPr lang="en-US" sz="1200" dirty="0">
                <a:solidFill>
                  <a:prstClr val="black"/>
                </a:solidFill>
                <a:latin typeface="Calibri"/>
              </a:rPr>
              <a:t>% of sites = 47% of patients</a:t>
            </a:r>
          </a:p>
          <a:p>
            <a:pPr algn="ctr"/>
            <a:r>
              <a:rPr lang="en-US" sz="1200" dirty="0">
                <a:solidFill>
                  <a:prstClr val="black"/>
                </a:solidFill>
                <a:latin typeface="Calibri"/>
              </a:rPr>
              <a:t>1% of sites = 24% of </a:t>
            </a:r>
            <a:r>
              <a:rPr lang="en-US" sz="1200" dirty="0" smtClean="0">
                <a:solidFill>
                  <a:prstClr val="black"/>
                </a:solidFill>
                <a:latin typeface="Calibri"/>
              </a:rPr>
              <a:t>patients</a:t>
            </a:r>
            <a:endParaRPr lang="en-US" sz="1200" dirty="0">
              <a:solidFill>
                <a:prstClr val="black"/>
              </a:solidFill>
              <a:latin typeface="Calibri"/>
            </a:endParaRPr>
          </a:p>
        </p:txBody>
      </p:sp>
      <p:sp>
        <p:nvSpPr>
          <p:cNvPr id="150" name="Rectangle 149"/>
          <p:cNvSpPr/>
          <p:nvPr/>
        </p:nvSpPr>
        <p:spPr bwMode="auto">
          <a:xfrm>
            <a:off x="5562600" y="2509475"/>
            <a:ext cx="3108960" cy="914020"/>
          </a:xfrm>
          <a:prstGeom prst="rect">
            <a:avLst/>
          </a:prstGeom>
          <a:solidFill>
            <a:schemeClr val="bg1"/>
          </a:solidFill>
          <a:ln w="9525" cap="flat" cmpd="sng" algn="ctr">
            <a:solidFill>
              <a:schemeClr val="tx1"/>
            </a:solidFill>
            <a:prstDash val="sysDash"/>
            <a:round/>
            <a:headEnd type="none" w="med" len="med"/>
            <a:tailEnd type="none" w="med" len="med"/>
          </a:ln>
          <a:effectLst/>
        </p:spPr>
        <p:txBody>
          <a:bodyPr vert="horz" wrap="square" lIns="99440" tIns="49721" rIns="99440" bIns="49721" numCol="1" rtlCol="0" anchor="ctr" anchorCtr="0" compatLnSpc="1">
            <a:prstTxWarp prst="textNoShape">
              <a:avLst/>
            </a:prstTxWarp>
          </a:bodyPr>
          <a:lstStyle/>
          <a:p>
            <a:pPr algn="ctr"/>
            <a:r>
              <a:rPr lang="en-US" sz="1200" b="1" dirty="0">
                <a:solidFill>
                  <a:prstClr val="black"/>
                </a:solidFill>
                <a:latin typeface="Calibri"/>
              </a:rPr>
              <a:t>80% of patients at </a:t>
            </a:r>
            <a:r>
              <a:rPr lang="en-US" sz="1200" b="1" dirty="0" smtClean="0">
                <a:solidFill>
                  <a:prstClr val="black"/>
                </a:solidFill>
                <a:latin typeface="Calibri"/>
              </a:rPr>
              <a:t>36</a:t>
            </a:r>
            <a:r>
              <a:rPr lang="en-US" sz="1200" b="1" dirty="0">
                <a:solidFill>
                  <a:prstClr val="black"/>
                </a:solidFill>
                <a:latin typeface="Calibri"/>
              </a:rPr>
              <a:t>% of sites</a:t>
            </a:r>
          </a:p>
          <a:p>
            <a:pPr algn="ctr"/>
            <a:r>
              <a:rPr lang="en-US" sz="1200" dirty="0" smtClean="0">
                <a:solidFill>
                  <a:prstClr val="black"/>
                </a:solidFill>
                <a:latin typeface="Calibri"/>
              </a:rPr>
              <a:t>10</a:t>
            </a:r>
            <a:r>
              <a:rPr lang="en-US" sz="1200" dirty="0">
                <a:solidFill>
                  <a:prstClr val="black"/>
                </a:solidFill>
                <a:latin typeface="Calibri"/>
              </a:rPr>
              <a:t>% of sites account for </a:t>
            </a:r>
            <a:r>
              <a:rPr lang="en-US" sz="1200" dirty="0" smtClean="0">
                <a:solidFill>
                  <a:prstClr val="black"/>
                </a:solidFill>
                <a:latin typeface="Calibri"/>
              </a:rPr>
              <a:t>47% </a:t>
            </a:r>
            <a:r>
              <a:rPr lang="en-US" sz="1200" dirty="0">
                <a:solidFill>
                  <a:prstClr val="black"/>
                </a:solidFill>
                <a:latin typeface="Calibri"/>
              </a:rPr>
              <a:t>of </a:t>
            </a:r>
            <a:r>
              <a:rPr lang="en-US" sz="1200" dirty="0" smtClean="0">
                <a:solidFill>
                  <a:prstClr val="black"/>
                </a:solidFill>
                <a:latin typeface="Calibri"/>
              </a:rPr>
              <a:t>patients</a:t>
            </a:r>
            <a:endParaRPr lang="en-US" sz="1200" dirty="0">
              <a:solidFill>
                <a:prstClr val="black"/>
              </a:solidFill>
              <a:latin typeface="Calibri"/>
            </a:endParaRPr>
          </a:p>
          <a:p>
            <a:pPr algn="ctr"/>
            <a:r>
              <a:rPr lang="en-US" sz="1200" dirty="0">
                <a:solidFill>
                  <a:prstClr val="black"/>
                </a:solidFill>
                <a:latin typeface="Calibri"/>
              </a:rPr>
              <a:t>(5% of sites = </a:t>
            </a:r>
            <a:r>
              <a:rPr lang="en-US" sz="1200" dirty="0" smtClean="0">
                <a:solidFill>
                  <a:prstClr val="black"/>
                </a:solidFill>
                <a:latin typeface="Calibri"/>
              </a:rPr>
              <a:t>33% </a:t>
            </a:r>
            <a:r>
              <a:rPr lang="en-US" sz="1200" dirty="0">
                <a:solidFill>
                  <a:prstClr val="black"/>
                </a:solidFill>
                <a:latin typeface="Calibri"/>
              </a:rPr>
              <a:t>of patients</a:t>
            </a:r>
          </a:p>
          <a:p>
            <a:pPr algn="ctr"/>
            <a:r>
              <a:rPr lang="en-US" sz="1200" dirty="0">
                <a:solidFill>
                  <a:prstClr val="black"/>
                </a:solidFill>
                <a:latin typeface="Calibri"/>
              </a:rPr>
              <a:t>1% of sites = </a:t>
            </a:r>
            <a:r>
              <a:rPr lang="en-US" sz="1200" dirty="0" smtClean="0">
                <a:solidFill>
                  <a:prstClr val="black"/>
                </a:solidFill>
                <a:latin typeface="Calibri"/>
              </a:rPr>
              <a:t>13% </a:t>
            </a:r>
            <a:r>
              <a:rPr lang="en-US" sz="1200" dirty="0">
                <a:solidFill>
                  <a:prstClr val="black"/>
                </a:solidFill>
                <a:latin typeface="Calibri"/>
              </a:rPr>
              <a:t>of patients)</a:t>
            </a:r>
          </a:p>
        </p:txBody>
      </p:sp>
      <p:sp>
        <p:nvSpPr>
          <p:cNvPr id="13" name="Rectangle 12"/>
          <p:cNvSpPr/>
          <p:nvPr/>
        </p:nvSpPr>
        <p:spPr>
          <a:xfrm>
            <a:off x="311944" y="4800600"/>
            <a:ext cx="8520113" cy="1856919"/>
          </a:xfrm>
          <a:prstGeom prst="rect">
            <a:avLst/>
          </a:prstGeom>
        </p:spPr>
        <p:txBody>
          <a:bodyPr wrap="square">
            <a:spAutoFit/>
          </a:bodyPr>
          <a:lstStyle/>
          <a:p>
            <a:pPr>
              <a:spcAft>
                <a:spcPts val="400"/>
              </a:spcAft>
            </a:pPr>
            <a:r>
              <a:rPr lang="en-US" dirty="0" smtClean="0"/>
              <a:t>In order </a:t>
            </a:r>
            <a:r>
              <a:rPr lang="en-US" dirty="0"/>
              <a:t>to to maximize access and patient </a:t>
            </a:r>
            <a:r>
              <a:rPr lang="en-US" dirty="0" smtClean="0"/>
              <a:t>impact, there is need to:</a:t>
            </a:r>
          </a:p>
          <a:p>
            <a:pPr marL="285750" indent="-285750">
              <a:spcAft>
                <a:spcPts val="400"/>
              </a:spcAft>
              <a:buFont typeface="Arial"/>
              <a:buChar char="•"/>
            </a:pPr>
            <a:r>
              <a:rPr lang="en-US" dirty="0" smtClean="0"/>
              <a:t>Select the sites that have the optimal patient volume as well as the capacity to implement POC EID testing effectively, </a:t>
            </a:r>
            <a:r>
              <a:rPr lang="en-US" dirty="0"/>
              <a:t>complementing the </a:t>
            </a:r>
            <a:r>
              <a:rPr lang="en-US" dirty="0" smtClean="0"/>
              <a:t>existing laboratory network</a:t>
            </a:r>
          </a:p>
          <a:p>
            <a:pPr marL="285750" indent="-285750">
              <a:spcAft>
                <a:spcPts val="400"/>
              </a:spcAft>
              <a:buFont typeface="Arial"/>
              <a:buChar char="•"/>
            </a:pPr>
            <a:r>
              <a:rPr lang="en-US" dirty="0" smtClean="0"/>
              <a:t>Deploy </a:t>
            </a:r>
            <a:r>
              <a:rPr lang="en-US" dirty="0" smtClean="0"/>
              <a:t>the </a:t>
            </a:r>
            <a:r>
              <a:rPr lang="en-US" dirty="0"/>
              <a:t>most appropriate </a:t>
            </a:r>
            <a:r>
              <a:rPr lang="en-US" dirty="0" smtClean="0"/>
              <a:t>products, </a:t>
            </a:r>
            <a:r>
              <a:rPr lang="en-US" dirty="0"/>
              <a:t>given the </a:t>
            </a:r>
            <a:r>
              <a:rPr lang="en-US" dirty="0" smtClean="0"/>
              <a:t>needs</a:t>
            </a:r>
            <a:r>
              <a:rPr lang="en-US" dirty="0"/>
              <a:t>, capacity, and limitations </a:t>
            </a:r>
            <a:r>
              <a:rPr lang="en-US" dirty="0" smtClean="0"/>
              <a:t>of specific sites</a:t>
            </a:r>
            <a:endParaRPr lang="en-US" dirty="0" smtClean="0"/>
          </a:p>
        </p:txBody>
      </p:sp>
      <p:sp>
        <p:nvSpPr>
          <p:cNvPr id="15" name="Rectangle 14"/>
          <p:cNvSpPr/>
          <p:nvPr/>
        </p:nvSpPr>
        <p:spPr>
          <a:xfrm>
            <a:off x="401241" y="1150203"/>
            <a:ext cx="8341519" cy="830997"/>
          </a:xfrm>
          <a:prstGeom prst="rect">
            <a:avLst/>
          </a:prstGeom>
          <a:ln>
            <a:solidFill>
              <a:schemeClr val="bg1">
                <a:lumMod val="50000"/>
              </a:schemeClr>
            </a:solidFill>
          </a:ln>
        </p:spPr>
        <p:txBody>
          <a:bodyPr wrap="square">
            <a:spAutoFit/>
          </a:bodyPr>
          <a:lstStyle/>
          <a:p>
            <a:pPr algn="ctr"/>
            <a:r>
              <a:rPr lang="en-US" sz="1600" dirty="0" smtClean="0"/>
              <a:t>Due to the decentralization of PMTCT services, mother-infant pairs are distributed across many facilities. However, </a:t>
            </a:r>
            <a:r>
              <a:rPr lang="en-US" sz="1600" dirty="0" smtClean="0"/>
              <a:t>the majority of them are concentrated in a smaller number of facilities</a:t>
            </a:r>
            <a:endParaRPr lang="en-US" sz="1600" dirty="0"/>
          </a:p>
        </p:txBody>
      </p:sp>
      <p:sp>
        <p:nvSpPr>
          <p:cNvPr id="16" name="Title 1"/>
          <p:cNvSpPr txBox="1">
            <a:spLocks/>
          </p:cNvSpPr>
          <p:nvPr/>
        </p:nvSpPr>
        <p:spPr>
          <a:xfrm>
            <a:off x="0" y="0"/>
            <a:ext cx="9144000" cy="1005840"/>
          </a:xfrm>
          <a:prstGeom prst="rect">
            <a:avLst/>
          </a:prstGeom>
          <a:solidFill>
            <a:srgbClr val="DDD9C3"/>
          </a:solidFill>
          <a:ln>
            <a:noFill/>
          </a:ln>
        </p:spPr>
        <p:txBody>
          <a:bodyPr vert="horz" lIns="91440" tIns="45720" rIns="91440" bIns="45720" rtlCol="0" anchor="ctr">
            <a:noAutofit/>
          </a:bodyPr>
          <a:lstStyle>
            <a:lvl1pPr algn="ctr" defTabSz="457200" rtl="0" eaLnBrk="1" latinLnBrk="0" hangingPunct="1">
              <a:spcBef>
                <a:spcPct val="0"/>
              </a:spcBef>
              <a:buNone/>
              <a:defRPr sz="4400" kern="1200">
                <a:solidFill>
                  <a:schemeClr val="tx1"/>
                </a:solidFill>
                <a:latin typeface="+mj-lt"/>
                <a:ea typeface="+mj-ea"/>
                <a:cs typeface="+mj-cs"/>
              </a:defRPr>
            </a:lvl1pPr>
          </a:lstStyle>
          <a:p>
            <a:pPr marL="58738" algn="l" defTabSz="914400">
              <a:defRPr/>
            </a:pPr>
            <a:r>
              <a:rPr lang="en-US" sz="2800" dirty="0">
                <a:cs typeface="Calibri"/>
              </a:rPr>
              <a:t>Background: Why is a product and site selection process necessary?</a:t>
            </a:r>
            <a:endParaRPr lang="en-US" sz="4800" kern="0" dirty="0">
              <a:solidFill>
                <a:sysClr val="windowText" lastClr="000000"/>
              </a:solidFill>
              <a:latin typeface="Times New Roman" panose="02020603050405020304" pitchFamily="18" charset="0"/>
              <a:ea typeface="Times New Roman" panose="02020603050405020304" pitchFamily="18" charset="0"/>
            </a:endParaRPr>
          </a:p>
        </p:txBody>
      </p:sp>
    </p:spTree>
    <p:extLst>
      <p:ext uri="{BB962C8B-B14F-4D97-AF65-F5344CB8AC3E}">
        <p14:creationId xmlns:p14="http://schemas.microsoft.com/office/powerpoint/2010/main" val="1472969355"/>
      </p:ext>
    </p:extLst>
  </p:cSld>
  <p:clrMapOvr>
    <a:masterClrMapping/>
  </p:clrMapOvr>
  <p:timing>
    <p:tnLst>
      <p:par>
        <p:cTn xmlns:p14="http://schemas.microsoft.com/office/powerpoint/2010/mai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0"/>
            <a:ext cx="9144000" cy="1005840"/>
          </a:xfrm>
          <a:solidFill>
            <a:srgbClr val="DDD9C3"/>
          </a:solidFill>
          <a:ln>
            <a:noFill/>
          </a:ln>
        </p:spPr>
        <p:txBody>
          <a:bodyPr anchor="ctr">
            <a:noAutofit/>
          </a:bodyPr>
          <a:lstStyle/>
          <a:p>
            <a:pPr marL="63500" algn="l"/>
            <a:r>
              <a:rPr lang="en-US" sz="2400" dirty="0" smtClean="0"/>
              <a:t>Site capacity assessments</a:t>
            </a:r>
            <a:endParaRPr lang="en-US" sz="2400" dirty="0"/>
          </a:p>
        </p:txBody>
      </p:sp>
      <p:sp>
        <p:nvSpPr>
          <p:cNvPr id="5" name="Text Placeholder 2"/>
          <p:cNvSpPr>
            <a:spLocks noGrp="1"/>
          </p:cNvSpPr>
          <p:nvPr>
            <p:ph type="body" idx="1"/>
          </p:nvPr>
        </p:nvSpPr>
        <p:spPr>
          <a:xfrm>
            <a:off x="457200" y="3810000"/>
            <a:ext cx="8244114" cy="2841171"/>
          </a:xfrm>
        </p:spPr>
        <p:txBody>
          <a:bodyPr>
            <a:noAutofit/>
          </a:bodyPr>
          <a:lstStyle/>
          <a:p>
            <a:pPr marL="0" indent="0">
              <a:buNone/>
            </a:pPr>
            <a:r>
              <a:rPr lang="en-US" sz="1600" dirty="0" smtClean="0">
                <a:cs typeface="Calibri" panose="020F0502020204030204" pitchFamily="34" charset="0"/>
              </a:rPr>
              <a:t>Analyzes </a:t>
            </a:r>
            <a:r>
              <a:rPr lang="en-US" sz="1600" dirty="0">
                <a:cs typeface="Calibri" panose="020F0502020204030204" pitchFamily="34" charset="0"/>
              </a:rPr>
              <a:t>the ability of each site to</a:t>
            </a:r>
            <a:r>
              <a:rPr lang="en-US" sz="1600" dirty="0" smtClean="0">
                <a:cs typeface="Calibri" panose="020F0502020204030204" pitchFamily="34" charset="0"/>
              </a:rPr>
              <a:t>:</a:t>
            </a:r>
          </a:p>
          <a:p>
            <a:r>
              <a:rPr lang="en-US" sz="1600" dirty="0">
                <a:cs typeface="Calibri" panose="020F0502020204030204" pitchFamily="34" charset="0"/>
              </a:rPr>
              <a:t>Integrate point-of-care testing into patient care  </a:t>
            </a:r>
            <a:endParaRPr lang="en-US" sz="1600" dirty="0">
              <a:cs typeface="Calibri" panose="020F0502020204030204" pitchFamily="34" charset="0"/>
            </a:endParaRPr>
          </a:p>
          <a:p>
            <a:r>
              <a:rPr lang="en-US" sz="1600" dirty="0" smtClean="0">
                <a:cs typeface="Calibri" panose="020F0502020204030204" pitchFamily="34" charset="0"/>
              </a:rPr>
              <a:t>Identify </a:t>
            </a:r>
            <a:r>
              <a:rPr lang="en-US" sz="1600" dirty="0">
                <a:cs typeface="Calibri" panose="020F0502020204030204" pitchFamily="34" charset="0"/>
              </a:rPr>
              <a:t>and train appropriate staff </a:t>
            </a:r>
            <a:endParaRPr lang="en-US" sz="1600" dirty="0" smtClean="0">
              <a:cs typeface="Calibri" panose="020F0502020204030204" pitchFamily="34" charset="0"/>
            </a:endParaRPr>
          </a:p>
          <a:p>
            <a:r>
              <a:rPr lang="en-US" sz="1600" dirty="0" smtClean="0">
                <a:cs typeface="Calibri" panose="020F0502020204030204" pitchFamily="34" charset="0"/>
              </a:rPr>
              <a:t>Provide </a:t>
            </a:r>
            <a:r>
              <a:rPr lang="en-US" sz="1600" dirty="0">
                <a:cs typeface="Calibri" panose="020F0502020204030204" pitchFamily="34" charset="0"/>
              </a:rPr>
              <a:t>the physical facilities required for POC EID testing, such as adequate space and electricity </a:t>
            </a:r>
            <a:endParaRPr lang="en-US" sz="1600" dirty="0" smtClean="0">
              <a:cs typeface="Calibri" panose="020F0502020204030204" pitchFamily="34" charset="0"/>
            </a:endParaRPr>
          </a:p>
          <a:p>
            <a:r>
              <a:rPr lang="en-US" sz="1600" dirty="0" smtClean="0">
                <a:cs typeface="Calibri" panose="020F0502020204030204" pitchFamily="34" charset="0"/>
              </a:rPr>
              <a:t>Ensure </a:t>
            </a:r>
            <a:r>
              <a:rPr lang="en-US" sz="1600" dirty="0">
                <a:cs typeface="Calibri" panose="020F0502020204030204" pitchFamily="34" charset="0"/>
              </a:rPr>
              <a:t>the safety of health workers and </a:t>
            </a:r>
            <a:r>
              <a:rPr lang="en-US" sz="1600" dirty="0" smtClean="0">
                <a:cs typeface="Calibri" panose="020F0502020204030204" pitchFamily="34" charset="0"/>
              </a:rPr>
              <a:t>patients</a:t>
            </a:r>
          </a:p>
          <a:p>
            <a:r>
              <a:rPr lang="en-US" sz="1600" dirty="0" smtClean="0">
                <a:cs typeface="Calibri" panose="020F0502020204030204" pitchFamily="34" charset="0"/>
              </a:rPr>
              <a:t>Implement </a:t>
            </a:r>
            <a:r>
              <a:rPr lang="en-US" sz="1600" dirty="0">
                <a:cs typeface="Calibri" panose="020F0502020204030204" pitchFamily="34" charset="0"/>
              </a:rPr>
              <a:t>POC EID </a:t>
            </a:r>
            <a:r>
              <a:rPr lang="en-US" sz="1600" dirty="0" smtClean="0">
                <a:cs typeface="Calibri" panose="020F0502020204030204" pitchFamily="34" charset="0"/>
              </a:rPr>
              <a:t>tests</a:t>
            </a:r>
          </a:p>
          <a:p>
            <a:r>
              <a:rPr lang="en-US" sz="1600" dirty="0" smtClean="0">
                <a:cs typeface="Calibri" panose="020F0502020204030204" pitchFamily="34" charset="0"/>
              </a:rPr>
              <a:t>Ensure </a:t>
            </a:r>
            <a:r>
              <a:rPr lang="en-US" sz="1600" dirty="0">
                <a:cs typeface="Calibri" panose="020F0502020204030204" pitchFamily="34" charset="0"/>
              </a:rPr>
              <a:t>a reliable supply of quality POC EID supplies, reagents and </a:t>
            </a:r>
            <a:r>
              <a:rPr lang="en-US" sz="1600" dirty="0" smtClean="0">
                <a:cs typeface="Calibri" panose="020F0502020204030204" pitchFamily="34" charset="0"/>
              </a:rPr>
              <a:t>equipment</a:t>
            </a:r>
          </a:p>
          <a:p>
            <a:r>
              <a:rPr lang="en-US" sz="1600" dirty="0" smtClean="0">
                <a:cs typeface="Calibri" panose="020F0502020204030204" pitchFamily="34" charset="0"/>
              </a:rPr>
              <a:t>Monitor </a:t>
            </a:r>
            <a:r>
              <a:rPr lang="en-US" sz="1600" dirty="0">
                <a:cs typeface="Calibri" panose="020F0502020204030204" pitchFamily="34" charset="0"/>
              </a:rPr>
              <a:t>the quality of testing</a:t>
            </a:r>
          </a:p>
          <a:p>
            <a:pPr>
              <a:buFont typeface="Arial"/>
              <a:buChar char="•"/>
            </a:pPr>
            <a:endParaRPr lang="en-US" sz="1600" dirty="0">
              <a:cs typeface="Calibri" panose="020F0502020204030204" pitchFamily="34" charset="0"/>
            </a:endParaRPr>
          </a:p>
        </p:txBody>
      </p:sp>
      <p:pic>
        <p:nvPicPr>
          <p:cNvPr id="3" name="Picture 2"/>
          <p:cNvPicPr>
            <a:picLocks noChangeAspect="1"/>
          </p:cNvPicPr>
          <p:nvPr/>
        </p:nvPicPr>
        <p:blipFill>
          <a:blip r:embed="rId3"/>
          <a:stretch>
            <a:fillRect/>
          </a:stretch>
        </p:blipFill>
        <p:spPr>
          <a:xfrm>
            <a:off x="5410200" y="1143000"/>
            <a:ext cx="3209281" cy="2011680"/>
          </a:xfrm>
          <a:prstGeom prst="rect">
            <a:avLst/>
          </a:prstGeom>
        </p:spPr>
      </p:pic>
      <p:pic>
        <p:nvPicPr>
          <p:cNvPr id="4" name="Picture 3"/>
          <p:cNvPicPr>
            <a:picLocks noChangeAspect="1"/>
          </p:cNvPicPr>
          <p:nvPr/>
        </p:nvPicPr>
        <p:blipFill>
          <a:blip r:embed="rId4"/>
          <a:stretch>
            <a:fillRect/>
          </a:stretch>
        </p:blipFill>
        <p:spPr>
          <a:xfrm>
            <a:off x="5715000" y="1600200"/>
            <a:ext cx="3152685" cy="2011680"/>
          </a:xfrm>
          <a:prstGeom prst="rect">
            <a:avLst/>
          </a:prstGeom>
        </p:spPr>
      </p:pic>
      <p:sp>
        <p:nvSpPr>
          <p:cNvPr id="6" name="Text Placeholder 2"/>
          <p:cNvSpPr txBox="1">
            <a:spLocks/>
          </p:cNvSpPr>
          <p:nvPr/>
        </p:nvSpPr>
        <p:spPr>
          <a:xfrm>
            <a:off x="228600" y="1295400"/>
            <a:ext cx="5029200" cy="1447799"/>
          </a:xfrm>
          <a:prstGeom prst="rect">
            <a:avLst/>
          </a:prstGeom>
        </p:spPr>
        <p:txBody>
          <a:bodyPr vert="horz" lIns="91440" tIns="45720" rIns="91440" bIns="45720" rtlCol="0">
            <a:noAutofit/>
          </a:bodyPr>
          <a:lstStyle>
            <a:lvl1pPr marL="342900" indent="-342900" algn="l" defTabSz="914400" rtl="0" eaLnBrk="1" latinLnBrk="0" hangingPunct="1">
              <a:spcBef>
                <a:spcPct val="20000"/>
              </a:spcBef>
              <a:buFont typeface="Arial" pitchFamily="34" charset="0"/>
              <a:buChar char="•"/>
              <a:defRPr sz="3200" kern="1200">
                <a:solidFill>
                  <a:schemeClr val="tx1"/>
                </a:solidFill>
                <a:latin typeface="+mn-lt"/>
                <a:ea typeface="+mn-ea"/>
                <a:cs typeface="+mn-cs"/>
              </a:defRPr>
            </a:lvl1pPr>
            <a:lvl2pPr marL="742950" indent="-285750" algn="l" defTabSz="914400" rtl="0" eaLnBrk="1" latinLnBrk="0" hangingPunct="1">
              <a:spcBef>
                <a:spcPct val="20000"/>
              </a:spcBef>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spcBef>
                <a:spcPct val="20000"/>
              </a:spcBef>
              <a:buFont typeface="Arial" pitchFamily="34" charset="0"/>
              <a:buChar char="•"/>
              <a:defRPr sz="2400" kern="1200">
                <a:solidFill>
                  <a:schemeClr val="tx1"/>
                </a:solidFill>
                <a:latin typeface="+mn-lt"/>
                <a:ea typeface="+mn-ea"/>
                <a:cs typeface="+mn-cs"/>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4pPr>
            <a:lvl5pPr marL="20574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chemeClr val="tx2">
                  <a:lumMod val="60000"/>
                  <a:lumOff val="40000"/>
                </a:schemeClr>
              </a:buClr>
              <a:buFont typeface="Arial" pitchFamily="34" charset="0"/>
              <a:buNone/>
            </a:pPr>
            <a:r>
              <a:rPr lang="en-US" sz="2000" dirty="0" smtClean="0">
                <a:cs typeface="Calibri" panose="020F0502020204030204" pitchFamily="34" charset="0"/>
              </a:rPr>
              <a:t>This tool developed by EGPAF uses an adapted version of the CDC SPI Point-of-Care Checklist (CDC SPI SPOCT Checklist) to assess the capacity of a site to implement POC EID. Also helps to identify what site upgrades are needed, if any. </a:t>
            </a:r>
            <a:endParaRPr lang="en-US" sz="2000" dirty="0">
              <a:cs typeface="Calibri" panose="020F0502020204030204" pitchFamily="34" charset="0"/>
            </a:endParaRPr>
          </a:p>
        </p:txBody>
      </p:sp>
    </p:spTree>
    <p:extLst>
      <p:ext uri="{BB962C8B-B14F-4D97-AF65-F5344CB8AC3E}">
        <p14:creationId xmlns:p14="http://schemas.microsoft.com/office/powerpoint/2010/main" val="1097557543"/>
      </p:ext>
    </p:extLst>
  </p:cSld>
  <p:clrMapOvr>
    <a:masterClrMapping/>
  </p:clrMapOvr>
  <mc:AlternateContent xmlns:mc="http://schemas.openxmlformats.org/markup-compatibility/2006">
    <mc:Choice xmlns:p14="http://schemas.microsoft.com/office/powerpoint/2010/main" Requires="p14">
      <p:transition spd="slow" p14:dur="2000"/>
    </mc:Choice>
    <mc:Fallback>
      <p:transition xmlns:p14="http://schemas.microsoft.com/office/powerpoint/2010/main" spd="slow"/>
    </mc:Fallback>
  </mc:AlternateContent>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 y="-1"/>
            <a:ext cx="9144000" cy="1008530"/>
          </a:xfrm>
          <a:solidFill>
            <a:srgbClr val="DDD9C3"/>
          </a:solidFill>
          <a:ln>
            <a:noFill/>
          </a:ln>
        </p:spPr>
        <p:txBody>
          <a:bodyPr vert="horz" lIns="91440" tIns="45720" rIns="91440" bIns="45720" rtlCol="0" anchor="ctr">
            <a:noAutofit/>
          </a:bodyPr>
          <a:lstStyle/>
          <a:p>
            <a:pPr marL="58738" indent="4763"/>
            <a:r>
              <a:rPr lang="en-US" sz="2800" kern="1200" dirty="0">
                <a:solidFill>
                  <a:schemeClr val="tx1"/>
                </a:solidFill>
                <a:cs typeface="Calibri"/>
              </a:rPr>
              <a:t>Product and site selection should be an iterative process involving key stakeholders</a:t>
            </a:r>
            <a:endParaRPr lang="en-US" sz="2800" kern="1200" dirty="0">
              <a:solidFill>
                <a:schemeClr val="tx1"/>
              </a:solidFill>
              <a:cs typeface="Calibri"/>
            </a:endParaRPr>
          </a:p>
        </p:txBody>
      </p:sp>
      <p:sp>
        <p:nvSpPr>
          <p:cNvPr id="30" name="Rectangle 29"/>
          <p:cNvSpPr/>
          <p:nvPr/>
        </p:nvSpPr>
        <p:spPr bwMode="auto">
          <a:xfrm>
            <a:off x="3329827" y="5852160"/>
            <a:ext cx="2636747" cy="548640"/>
          </a:xfrm>
          <a:prstGeom prst="rect">
            <a:avLst/>
          </a:prstGeom>
          <a:solidFill>
            <a:srgbClr val="CCFFCC"/>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2000" b="1" dirty="0" smtClean="0">
                <a:solidFill>
                  <a:srgbClr val="000000"/>
                </a:solidFill>
                <a:latin typeface="Calibri" panose="020F0502020204030204" pitchFamily="34" charset="0"/>
              </a:rPr>
              <a:t>Implementation</a:t>
            </a:r>
            <a:endParaRPr lang="en-US" sz="2000" b="1" dirty="0" smtClean="0">
              <a:solidFill>
                <a:srgbClr val="000000"/>
              </a:solidFill>
              <a:latin typeface="Calibri" panose="020F0502020204030204" pitchFamily="34" charset="0"/>
            </a:endParaRPr>
          </a:p>
        </p:txBody>
      </p:sp>
      <p:cxnSp>
        <p:nvCxnSpPr>
          <p:cNvPr id="33" name="Straight Arrow Connector 32"/>
          <p:cNvCxnSpPr/>
          <p:nvPr/>
        </p:nvCxnSpPr>
        <p:spPr bwMode="auto">
          <a:xfrm>
            <a:off x="4648200" y="2764222"/>
            <a:ext cx="0" cy="365760"/>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34" name="Straight Arrow Connector 33"/>
          <p:cNvCxnSpPr/>
          <p:nvPr/>
        </p:nvCxnSpPr>
        <p:spPr bwMode="auto">
          <a:xfrm>
            <a:off x="4648200" y="4587240"/>
            <a:ext cx="0" cy="365760"/>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35" name="TextBox 34"/>
          <p:cNvSpPr txBox="1"/>
          <p:nvPr/>
        </p:nvSpPr>
        <p:spPr>
          <a:xfrm>
            <a:off x="2895600" y="1143000"/>
            <a:ext cx="3505200" cy="548640"/>
          </a:xfrm>
          <a:prstGeom prst="rect">
            <a:avLst/>
          </a:prstGeom>
          <a:solidFill>
            <a:schemeClr val="bg1">
              <a:lumMod val="95000"/>
            </a:schemeClr>
          </a:solidFill>
          <a:ln>
            <a:solidFill>
              <a:schemeClr val="bg1">
                <a:lumMod val="65000"/>
              </a:schemeClr>
            </a:solidFill>
          </a:ln>
        </p:spPr>
        <p:txBody>
          <a:bodyPr wrap="square" rtlCol="0" anchor="ctr">
            <a:noAutofit/>
          </a:bodyPr>
          <a:lstStyle/>
          <a:p>
            <a:pPr algn="ctr" fontAlgn="base">
              <a:spcBef>
                <a:spcPct val="0"/>
              </a:spcBef>
              <a:spcAft>
                <a:spcPct val="0"/>
              </a:spcAft>
            </a:pPr>
            <a:r>
              <a:rPr lang="en-US" sz="2000" dirty="0" smtClean="0">
                <a:solidFill>
                  <a:srgbClr val="000000"/>
                </a:solidFill>
                <a:latin typeface="Calibri" panose="020F0502020204030204" pitchFamily="34" charset="0"/>
              </a:rPr>
              <a:t>Lab network mapping</a:t>
            </a:r>
            <a:endParaRPr lang="en-US" sz="2000" dirty="0">
              <a:solidFill>
                <a:srgbClr val="000000"/>
              </a:solidFill>
              <a:latin typeface="Calibri" panose="020F0502020204030204" pitchFamily="34" charset="0"/>
            </a:endParaRPr>
          </a:p>
        </p:txBody>
      </p:sp>
      <p:sp>
        <p:nvSpPr>
          <p:cNvPr id="36" name="TextBox 35"/>
          <p:cNvSpPr txBox="1"/>
          <p:nvPr/>
        </p:nvSpPr>
        <p:spPr>
          <a:xfrm>
            <a:off x="2644027" y="2057400"/>
            <a:ext cx="3985373" cy="701040"/>
          </a:xfrm>
          <a:prstGeom prst="rect">
            <a:avLst/>
          </a:prstGeom>
          <a:solidFill>
            <a:schemeClr val="bg1">
              <a:lumMod val="95000"/>
            </a:schemeClr>
          </a:solidFill>
          <a:ln>
            <a:solidFill>
              <a:schemeClr val="bg1">
                <a:lumMod val="65000"/>
              </a:schemeClr>
            </a:solidFill>
          </a:ln>
        </p:spPr>
        <p:txBody>
          <a:bodyPr wrap="square" rtlCol="0" anchor="ctr">
            <a:noAutofit/>
          </a:bodyPr>
          <a:lstStyle/>
          <a:p>
            <a:pPr algn="ctr" fontAlgn="base">
              <a:spcBef>
                <a:spcPct val="0"/>
              </a:spcBef>
              <a:spcAft>
                <a:spcPct val="0"/>
              </a:spcAft>
            </a:pPr>
            <a:r>
              <a:rPr lang="en-US" sz="2000" dirty="0" smtClean="0">
                <a:solidFill>
                  <a:srgbClr val="000000"/>
                </a:solidFill>
                <a:latin typeface="Calibri" panose="020F0502020204030204" pitchFamily="34" charset="0"/>
              </a:rPr>
              <a:t>Preliminary product/site selection</a:t>
            </a:r>
            <a:endParaRPr lang="en-US" sz="2000" dirty="0">
              <a:solidFill>
                <a:srgbClr val="000000"/>
              </a:solidFill>
              <a:latin typeface="Calibri" panose="020F0502020204030204" pitchFamily="34" charset="0"/>
            </a:endParaRPr>
          </a:p>
        </p:txBody>
      </p:sp>
      <p:sp>
        <p:nvSpPr>
          <p:cNvPr id="37" name="TextBox 36"/>
          <p:cNvSpPr txBox="1"/>
          <p:nvPr/>
        </p:nvSpPr>
        <p:spPr>
          <a:xfrm>
            <a:off x="3329827" y="3124200"/>
            <a:ext cx="2636747" cy="548640"/>
          </a:xfrm>
          <a:prstGeom prst="rect">
            <a:avLst/>
          </a:prstGeom>
          <a:solidFill>
            <a:schemeClr val="bg1">
              <a:lumMod val="95000"/>
            </a:schemeClr>
          </a:solidFill>
          <a:ln>
            <a:solidFill>
              <a:schemeClr val="bg1">
                <a:lumMod val="65000"/>
              </a:schemeClr>
            </a:solidFill>
          </a:ln>
        </p:spPr>
        <p:txBody>
          <a:bodyPr wrap="square" rtlCol="0" anchor="ctr">
            <a:noAutofit/>
          </a:bodyPr>
          <a:lstStyle/>
          <a:p>
            <a:pPr algn="ctr" fontAlgn="base">
              <a:spcBef>
                <a:spcPct val="0"/>
              </a:spcBef>
              <a:spcAft>
                <a:spcPct val="0"/>
              </a:spcAft>
            </a:pPr>
            <a:r>
              <a:rPr lang="en-US" sz="2000" dirty="0" smtClean="0">
                <a:solidFill>
                  <a:srgbClr val="000000"/>
                </a:solidFill>
                <a:latin typeface="Calibri" panose="020F0502020204030204" pitchFamily="34" charset="0"/>
              </a:rPr>
              <a:t>Site assessment</a:t>
            </a:r>
            <a:endParaRPr lang="en-US" sz="2000" dirty="0">
              <a:solidFill>
                <a:srgbClr val="000000"/>
              </a:solidFill>
              <a:latin typeface="Calibri" panose="020F0502020204030204" pitchFamily="34" charset="0"/>
            </a:endParaRPr>
          </a:p>
        </p:txBody>
      </p:sp>
      <p:cxnSp>
        <p:nvCxnSpPr>
          <p:cNvPr id="38" name="Straight Arrow Connector 37"/>
          <p:cNvCxnSpPr/>
          <p:nvPr/>
        </p:nvCxnSpPr>
        <p:spPr bwMode="auto">
          <a:xfrm>
            <a:off x="4648200" y="1676400"/>
            <a:ext cx="0" cy="365760"/>
          </a:xfrm>
          <a:prstGeom prst="straightConnector1">
            <a:avLst/>
          </a:prstGeom>
          <a:solidFill>
            <a:schemeClr val="accent1"/>
          </a:solidFill>
          <a:ln w="9525" cap="flat" cmpd="sng" algn="ctr">
            <a:solidFill>
              <a:schemeClr val="tx1"/>
            </a:solidFill>
            <a:prstDash val="solid"/>
            <a:round/>
            <a:headEnd type="none" w="med" len="med"/>
            <a:tailEnd type="arrow"/>
          </a:ln>
          <a:effectLst/>
        </p:spPr>
      </p:cxnSp>
      <p:cxnSp>
        <p:nvCxnSpPr>
          <p:cNvPr id="39" name="Straight Arrow Connector 38"/>
          <p:cNvCxnSpPr/>
          <p:nvPr/>
        </p:nvCxnSpPr>
        <p:spPr bwMode="auto">
          <a:xfrm>
            <a:off x="4648200" y="3672840"/>
            <a:ext cx="0" cy="365760"/>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
        <p:nvSpPr>
          <p:cNvPr id="40" name="TextBox 39"/>
          <p:cNvSpPr txBox="1"/>
          <p:nvPr/>
        </p:nvSpPr>
        <p:spPr>
          <a:xfrm>
            <a:off x="3329827" y="4038600"/>
            <a:ext cx="2636747" cy="548640"/>
          </a:xfrm>
          <a:prstGeom prst="rect">
            <a:avLst/>
          </a:prstGeom>
          <a:solidFill>
            <a:schemeClr val="bg1">
              <a:lumMod val="95000"/>
            </a:schemeClr>
          </a:solidFill>
          <a:ln>
            <a:solidFill>
              <a:schemeClr val="bg1">
                <a:lumMod val="65000"/>
              </a:schemeClr>
            </a:solidFill>
          </a:ln>
        </p:spPr>
        <p:txBody>
          <a:bodyPr wrap="square" rtlCol="0" anchor="ctr">
            <a:noAutofit/>
          </a:bodyPr>
          <a:lstStyle/>
          <a:p>
            <a:pPr algn="ctr" fontAlgn="base">
              <a:spcBef>
                <a:spcPct val="0"/>
              </a:spcBef>
              <a:spcAft>
                <a:spcPct val="0"/>
              </a:spcAft>
            </a:pPr>
            <a:r>
              <a:rPr lang="en-US" sz="2000" dirty="0" smtClean="0">
                <a:solidFill>
                  <a:srgbClr val="000000"/>
                </a:solidFill>
                <a:latin typeface="Calibri" panose="020F0502020204030204" pitchFamily="34" charset="0"/>
              </a:rPr>
              <a:t>Consultation</a:t>
            </a:r>
            <a:endParaRPr lang="en-US" sz="2000" dirty="0">
              <a:solidFill>
                <a:srgbClr val="000000"/>
              </a:solidFill>
              <a:latin typeface="Calibri" panose="020F0502020204030204" pitchFamily="34" charset="0"/>
            </a:endParaRPr>
          </a:p>
        </p:txBody>
      </p:sp>
      <p:sp>
        <p:nvSpPr>
          <p:cNvPr id="42" name="TextBox 41"/>
          <p:cNvSpPr txBox="1"/>
          <p:nvPr/>
        </p:nvSpPr>
        <p:spPr>
          <a:xfrm rot="16200000">
            <a:off x="-106680" y="3002280"/>
            <a:ext cx="4191000" cy="777240"/>
          </a:xfrm>
          <a:prstGeom prst="rect">
            <a:avLst/>
          </a:prstGeom>
          <a:solidFill>
            <a:schemeClr val="accent5"/>
          </a:solidFill>
          <a:ln>
            <a:solidFill>
              <a:schemeClr val="bg1">
                <a:lumMod val="65000"/>
              </a:schemeClr>
            </a:solidFill>
          </a:ln>
        </p:spPr>
        <p:txBody>
          <a:bodyPr wrap="square" rtlCol="0" anchor="ctr">
            <a:noAutofit/>
          </a:bodyPr>
          <a:lstStyle/>
          <a:p>
            <a:pPr algn="ctr" fontAlgn="base">
              <a:spcBef>
                <a:spcPct val="0"/>
              </a:spcBef>
              <a:spcAft>
                <a:spcPct val="0"/>
              </a:spcAft>
            </a:pPr>
            <a:r>
              <a:rPr lang="en-US" sz="2000" dirty="0" smtClean="0">
                <a:solidFill>
                  <a:srgbClr val="000000"/>
                </a:solidFill>
                <a:latin typeface="Calibri" panose="020F0502020204030204" pitchFamily="34" charset="0"/>
              </a:rPr>
              <a:t>Convene TWG / stakeholder consultation</a:t>
            </a:r>
            <a:endParaRPr lang="en-US" sz="2000" dirty="0">
              <a:solidFill>
                <a:srgbClr val="000000"/>
              </a:solidFill>
              <a:latin typeface="Calibri" panose="020F0502020204030204" pitchFamily="34" charset="0"/>
            </a:endParaRPr>
          </a:p>
        </p:txBody>
      </p:sp>
      <p:sp>
        <p:nvSpPr>
          <p:cNvPr id="43" name="TextBox 42"/>
          <p:cNvSpPr txBox="1"/>
          <p:nvPr/>
        </p:nvSpPr>
        <p:spPr>
          <a:xfrm>
            <a:off x="2667000" y="4953000"/>
            <a:ext cx="3962399" cy="548640"/>
          </a:xfrm>
          <a:prstGeom prst="rect">
            <a:avLst/>
          </a:prstGeom>
          <a:solidFill>
            <a:schemeClr val="bg1">
              <a:lumMod val="95000"/>
            </a:schemeClr>
          </a:solidFill>
          <a:ln>
            <a:solidFill>
              <a:schemeClr val="bg1">
                <a:lumMod val="65000"/>
              </a:schemeClr>
            </a:solidFill>
          </a:ln>
        </p:spPr>
        <p:txBody>
          <a:bodyPr wrap="square" rtlCol="0" anchor="ctr">
            <a:noAutofit/>
          </a:bodyPr>
          <a:lstStyle/>
          <a:p>
            <a:pPr algn="ctr" fontAlgn="base">
              <a:spcBef>
                <a:spcPct val="0"/>
              </a:spcBef>
              <a:spcAft>
                <a:spcPct val="0"/>
              </a:spcAft>
            </a:pPr>
            <a:r>
              <a:rPr lang="en-US" sz="2000" dirty="0" smtClean="0">
                <a:solidFill>
                  <a:srgbClr val="000000"/>
                </a:solidFill>
                <a:latin typeface="Calibri" panose="020F0502020204030204" pitchFamily="34" charset="0"/>
              </a:rPr>
              <a:t>Final product/site selection</a:t>
            </a:r>
            <a:endParaRPr lang="en-US" sz="2000" dirty="0">
              <a:solidFill>
                <a:srgbClr val="000000"/>
              </a:solidFill>
              <a:latin typeface="Calibri" panose="020F0502020204030204" pitchFamily="34" charset="0"/>
            </a:endParaRPr>
          </a:p>
        </p:txBody>
      </p:sp>
      <p:cxnSp>
        <p:nvCxnSpPr>
          <p:cNvPr id="45" name="Straight Arrow Connector 44"/>
          <p:cNvCxnSpPr/>
          <p:nvPr/>
        </p:nvCxnSpPr>
        <p:spPr bwMode="auto">
          <a:xfrm>
            <a:off x="4648200" y="5486400"/>
            <a:ext cx="0" cy="365760"/>
          </a:xfrm>
          <a:prstGeom prst="straightConnector1">
            <a:avLst/>
          </a:prstGeom>
          <a:solidFill>
            <a:schemeClr val="accent1"/>
          </a:solidFill>
          <a:ln w="9525" cap="flat" cmpd="sng" algn="ctr">
            <a:solidFill>
              <a:schemeClr val="tx1"/>
            </a:solidFill>
            <a:prstDash val="solid"/>
            <a:round/>
            <a:headEnd type="none" w="med" len="med"/>
            <a:tailEnd type="arrow"/>
          </a:ln>
          <a:effectLst/>
        </p:spPr>
      </p:cxnSp>
    </p:spTree>
    <p:extLst>
      <p:ext uri="{BB962C8B-B14F-4D97-AF65-F5344CB8AC3E}">
        <p14:creationId xmlns:p14="http://schemas.microsoft.com/office/powerpoint/2010/main" val="1232014803"/>
      </p:ext>
    </p:extLst>
  </p:cSld>
  <p:clrMapOvr>
    <a:masterClrMapping/>
  </p:clrMapOvr>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Rectangle 2"/>
          <p:cNvSpPr>
            <a:spLocks noGrp="1" noChangeArrowheads="1"/>
          </p:cNvSpPr>
          <p:nvPr>
            <p:ph type="title"/>
          </p:nvPr>
        </p:nvSpPr>
        <p:spPr bwMode="gray">
          <a:xfrm>
            <a:off x="0" y="0"/>
            <a:ext cx="9144000" cy="914400"/>
          </a:xfrm>
          <a:solidFill>
            <a:srgbClr val="DDD9C3"/>
          </a:solidFill>
          <a:ln>
            <a:noFill/>
          </a:ln>
          <a:extLst/>
        </p:spPr>
        <p:txBody>
          <a:bodyPr vert="horz" lIns="91440" tIns="45720" rIns="91440" bIns="45720" rtlCol="0" anchor="ctr">
            <a:noAutofit/>
          </a:bodyPr>
          <a:lstStyle/>
          <a:p>
            <a:pPr marL="58738" indent="4763" algn="l" fontAlgn="base">
              <a:spcAft>
                <a:spcPct val="0"/>
              </a:spcAft>
            </a:pPr>
            <a:r>
              <a:rPr lang="en-US" sz="2200" dirty="0">
                <a:cs typeface="Calibri"/>
              </a:rPr>
              <a:t>Laboratory network mapping is a necessary foundation for any optimization, including appropriate site and product selection</a:t>
            </a:r>
            <a:endParaRPr lang="en-US" sz="2200" dirty="0">
              <a:cs typeface="Calibri"/>
            </a:endParaRPr>
          </a:p>
        </p:txBody>
      </p:sp>
      <p:sp>
        <p:nvSpPr>
          <p:cNvPr id="3" name="TextBox 2"/>
          <p:cNvSpPr txBox="1"/>
          <p:nvPr/>
        </p:nvSpPr>
        <p:spPr>
          <a:xfrm>
            <a:off x="228600" y="1021140"/>
            <a:ext cx="8763000" cy="1477328"/>
          </a:xfrm>
          <a:prstGeom prst="rect">
            <a:avLst/>
          </a:prstGeom>
          <a:noFill/>
        </p:spPr>
        <p:txBody>
          <a:bodyPr wrap="square" rtlCol="0">
            <a:spAutoFit/>
          </a:bodyPr>
          <a:lstStyle/>
          <a:p>
            <a:pPr marL="342900" indent="-342900">
              <a:buFont typeface="Arial"/>
              <a:buChar char="•"/>
            </a:pPr>
            <a:r>
              <a:rPr lang="en-US" dirty="0" smtClean="0"/>
              <a:t>Map relevant health facilities and laboratories</a:t>
            </a:r>
          </a:p>
          <a:p>
            <a:pPr marL="342900" indent="-342900">
              <a:buFont typeface="Arial"/>
              <a:buChar char="•"/>
            </a:pPr>
            <a:r>
              <a:rPr lang="en-US" dirty="0" smtClean="0"/>
              <a:t>Identify the location and type of equipment</a:t>
            </a:r>
          </a:p>
          <a:p>
            <a:pPr marL="342900" indent="-342900">
              <a:buFont typeface="Arial"/>
              <a:buChar char="•"/>
            </a:pPr>
            <a:r>
              <a:rPr lang="en-US" dirty="0" smtClean="0"/>
              <a:t>Collect the GIS coordinates for health facilities</a:t>
            </a:r>
          </a:p>
          <a:p>
            <a:pPr marL="342900" indent="-342900">
              <a:buFont typeface="Arial"/>
              <a:buChar char="•"/>
            </a:pPr>
            <a:r>
              <a:rPr lang="en-US" dirty="0" smtClean="0"/>
              <a:t>Collect other information such as electricity </a:t>
            </a:r>
          </a:p>
          <a:p>
            <a:pPr marL="342900" indent="-342900">
              <a:buFont typeface="Arial"/>
              <a:buChar char="•"/>
            </a:pPr>
            <a:r>
              <a:rPr lang="en-US" dirty="0" smtClean="0"/>
              <a:t>Compile </a:t>
            </a:r>
            <a:r>
              <a:rPr lang="en-US" dirty="0" smtClean="0"/>
              <a:t>site-level testing demand</a:t>
            </a:r>
            <a:endParaRPr lang="en-US" dirty="0"/>
          </a:p>
        </p:txBody>
      </p:sp>
      <p:pic>
        <p:nvPicPr>
          <p:cNvPr id="87042"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10403" y="2802839"/>
            <a:ext cx="4307595" cy="37242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87043" name="Picture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610100" y="2743200"/>
            <a:ext cx="4416854" cy="384355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4" name="Picture 3"/>
          <p:cNvPicPr>
            <a:picLocks noChangeAspect="1"/>
          </p:cNvPicPr>
          <p:nvPr/>
        </p:nvPicPr>
        <p:blipFill>
          <a:blip r:embed="rId5"/>
          <a:stretch>
            <a:fillRect/>
          </a:stretch>
        </p:blipFill>
        <p:spPr>
          <a:xfrm>
            <a:off x="6248400" y="1143000"/>
            <a:ext cx="2171700" cy="1155700"/>
          </a:xfrm>
          <a:prstGeom prst="rect">
            <a:avLst/>
          </a:prstGeom>
        </p:spPr>
      </p:pic>
    </p:spTree>
    <p:extLst>
      <p:ext uri="{BB962C8B-B14F-4D97-AF65-F5344CB8AC3E}">
        <p14:creationId xmlns:p14="http://schemas.microsoft.com/office/powerpoint/2010/main" val="768006876"/>
      </p:ext>
    </p:extLst>
  </p:cSld>
  <p:clrMapOvr>
    <a:masterClrMapping/>
  </p:clrMapOvr>
  <p:timing>
    <p:tnLst>
      <p:par>
        <p:cTn xmlns:p14="http://schemas.microsoft.com/office/powerpoint/2010/mai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5" name="Rectangle 2"/>
          <p:cNvSpPr>
            <a:spLocks noGrp="1" noChangeArrowheads="1"/>
          </p:cNvSpPr>
          <p:nvPr>
            <p:ph type="title"/>
          </p:nvPr>
        </p:nvSpPr>
        <p:spPr bwMode="gray">
          <a:xfrm>
            <a:off x="0" y="0"/>
            <a:ext cx="9144000" cy="914400"/>
          </a:xfrm>
          <a:solidFill>
            <a:srgbClr val="DDD9C3"/>
          </a:solidFill>
          <a:ln>
            <a:noFill/>
          </a:ln>
          <a:extLst/>
        </p:spPr>
        <p:txBody>
          <a:bodyPr vert="horz" lIns="91440" tIns="45720" rIns="91440" bIns="45720" rtlCol="0" anchor="ctr">
            <a:noAutofit/>
          </a:bodyPr>
          <a:lstStyle/>
          <a:p>
            <a:pPr marL="58738" indent="4763" algn="l" fontAlgn="base">
              <a:spcAft>
                <a:spcPct val="0"/>
              </a:spcAft>
            </a:pPr>
            <a:r>
              <a:rPr lang="en-US" sz="2200" dirty="0">
                <a:cs typeface="Calibri"/>
              </a:rPr>
              <a:t>POC Product and Site Selection Tool</a:t>
            </a:r>
            <a:endParaRPr lang="en-US" sz="2200" dirty="0">
              <a:cs typeface="Calibri"/>
            </a:endParaRPr>
          </a:p>
        </p:txBody>
      </p:sp>
      <p:sp>
        <p:nvSpPr>
          <p:cNvPr id="4" name="Rectangle 3"/>
          <p:cNvSpPr/>
          <p:nvPr/>
        </p:nvSpPr>
        <p:spPr>
          <a:xfrm>
            <a:off x="61415" y="1524000"/>
            <a:ext cx="8991600" cy="4524316"/>
          </a:xfrm>
          <a:prstGeom prst="rect">
            <a:avLst/>
          </a:prstGeom>
        </p:spPr>
        <p:txBody>
          <a:bodyPr wrap="square">
            <a:spAutoFit/>
          </a:bodyPr>
          <a:lstStyle/>
          <a:p>
            <a:r>
              <a:rPr lang="en-US" dirty="0"/>
              <a:t>Clinton Health Access Initiative’s (CHAI) </a:t>
            </a:r>
            <a:r>
              <a:rPr lang="en-US" b="1" dirty="0">
                <a:hlinkClick r:id="rId3"/>
              </a:rPr>
              <a:t>EID and VL Product and Site Selection Tool</a:t>
            </a:r>
            <a:r>
              <a:rPr lang="en-US" dirty="0"/>
              <a:t> is an excel-based decision-making tool designed to help countries with</a:t>
            </a:r>
            <a:r>
              <a:rPr lang="en-US" dirty="0" smtClean="0"/>
              <a:t>:</a:t>
            </a:r>
          </a:p>
          <a:p>
            <a:endParaRPr lang="en-US" dirty="0"/>
          </a:p>
          <a:p>
            <a:pPr marL="285750" indent="-285750">
              <a:buFont typeface="Arial" panose="020B0604020202020204" pitchFamily="34" charset="0"/>
              <a:buChar char="•"/>
            </a:pPr>
            <a:r>
              <a:rPr lang="en-US" dirty="0"/>
              <a:t>Determining the optimal deployment of POC devices and conventional equipment to maximize patient impact while maintaining cost </a:t>
            </a:r>
            <a:r>
              <a:rPr lang="en-US" dirty="0" smtClean="0"/>
              <a:t>efficiency</a:t>
            </a:r>
          </a:p>
          <a:p>
            <a:pPr marL="285750" indent="-285750">
              <a:buFont typeface="Arial" panose="020B0604020202020204" pitchFamily="34" charset="0"/>
              <a:buChar char="•"/>
            </a:pPr>
            <a:r>
              <a:rPr lang="en-US" dirty="0" smtClean="0"/>
              <a:t>Selecting </a:t>
            </a:r>
            <a:r>
              <a:rPr lang="en-US" dirty="0"/>
              <a:t>the most appropriate </a:t>
            </a:r>
            <a:r>
              <a:rPr lang="en-US" dirty="0" smtClean="0"/>
              <a:t>POC EID </a:t>
            </a:r>
            <a:r>
              <a:rPr lang="en-US" dirty="0"/>
              <a:t>and VL products </a:t>
            </a:r>
            <a:r>
              <a:rPr lang="en-US" dirty="0" smtClean="0"/>
              <a:t>for sites selected for POC testing</a:t>
            </a:r>
            <a:endParaRPr lang="en-US" dirty="0"/>
          </a:p>
          <a:p>
            <a:pPr marL="285750" indent="-285750">
              <a:buFont typeface="Arial" panose="020B0604020202020204" pitchFamily="34" charset="0"/>
              <a:buChar char="•"/>
            </a:pPr>
            <a:endParaRPr lang="en-US" dirty="0" smtClean="0"/>
          </a:p>
          <a:p>
            <a:pPr marL="285750" indent="-285750">
              <a:buFont typeface="Arial" panose="020B0604020202020204" pitchFamily="34" charset="0"/>
              <a:buChar char="•"/>
            </a:pPr>
            <a:endParaRPr lang="en-US" dirty="0"/>
          </a:p>
          <a:p>
            <a:r>
              <a:rPr lang="en-US" dirty="0"/>
              <a:t>It is intended to help technical working groups (TWGS) and stakeholders better understand the current gaps in testing coverage in the country; identify the key country-specific criteria for selecting sites and POC products; and score those criteria to determine the balance between patient volume, access, and price when making decisions about site and product selection. It has been implemented in Cameroon, Malawi and Zimbabwe</a:t>
            </a:r>
            <a:r>
              <a:rPr lang="en-US" dirty="0" smtClean="0"/>
              <a:t>.</a:t>
            </a:r>
            <a:endParaRPr lang="en-US" dirty="0"/>
          </a:p>
        </p:txBody>
      </p:sp>
    </p:spTree>
    <p:extLst>
      <p:ext uri="{BB962C8B-B14F-4D97-AF65-F5344CB8AC3E}">
        <p14:creationId xmlns:p14="http://schemas.microsoft.com/office/powerpoint/2010/main" val="489714311"/>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 y="-1"/>
            <a:ext cx="9144000" cy="1008530"/>
          </a:xfrm>
          <a:solidFill>
            <a:srgbClr val="DDD9C3"/>
          </a:solidFill>
          <a:ln>
            <a:noFill/>
          </a:ln>
        </p:spPr>
        <p:txBody>
          <a:bodyPr vert="horz" lIns="91440" tIns="45720" rIns="91440" bIns="45720" rtlCol="0" anchor="ctr">
            <a:noAutofit/>
          </a:bodyPr>
          <a:lstStyle/>
          <a:p>
            <a:pPr marL="58738" indent="4763"/>
            <a:r>
              <a:rPr lang="en-US" sz="2200" kern="1200" dirty="0">
                <a:solidFill>
                  <a:schemeClr val="tx1"/>
                </a:solidFill>
                <a:cs typeface="Calibri"/>
              </a:rPr>
              <a:t>EID and VL Site and Product Selection Tool Overview (1 of 5)</a:t>
            </a:r>
          </a:p>
        </p:txBody>
      </p:sp>
      <p:grpSp>
        <p:nvGrpSpPr>
          <p:cNvPr id="5" name="Group 4"/>
          <p:cNvGrpSpPr/>
          <p:nvPr/>
        </p:nvGrpSpPr>
        <p:grpSpPr>
          <a:xfrm>
            <a:off x="201884" y="1699157"/>
            <a:ext cx="8763986" cy="2265381"/>
            <a:chOff x="344384" y="1377539"/>
            <a:chExt cx="8383980" cy="2265381"/>
          </a:xfrm>
        </p:grpSpPr>
        <p:sp>
          <p:nvSpPr>
            <p:cNvPr id="6" name="Rectangle 5"/>
            <p:cNvSpPr/>
            <p:nvPr/>
          </p:nvSpPr>
          <p:spPr bwMode="auto">
            <a:xfrm>
              <a:off x="344384" y="1377539"/>
              <a:ext cx="8383980" cy="415636"/>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1500" b="1" dirty="0" smtClean="0">
                  <a:solidFill>
                    <a:srgbClr val="000000"/>
                  </a:solidFill>
                  <a:latin typeface="Calibri" panose="020F0502020204030204" pitchFamily="34" charset="0"/>
                </a:rPr>
                <a:t>Define country and site-level information</a:t>
              </a:r>
            </a:p>
          </p:txBody>
        </p:sp>
        <p:sp>
          <p:nvSpPr>
            <p:cNvPr id="7" name="Rectangle 6"/>
            <p:cNvSpPr/>
            <p:nvPr/>
          </p:nvSpPr>
          <p:spPr bwMode="auto">
            <a:xfrm>
              <a:off x="344384" y="1793174"/>
              <a:ext cx="8383980" cy="1849746"/>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indent="-285750" fontAlgn="base">
                <a:spcBef>
                  <a:spcPct val="0"/>
                </a:spcBef>
                <a:spcAft>
                  <a:spcPct val="0"/>
                </a:spcAft>
                <a:buSzPct val="100000"/>
                <a:buFont typeface="Arial"/>
                <a:buChar char="•"/>
              </a:pPr>
              <a:r>
                <a:rPr lang="en-US" sz="1500" dirty="0" smtClean="0">
                  <a:solidFill>
                    <a:srgbClr val="000000"/>
                  </a:solidFill>
                  <a:latin typeface="Calibri" panose="020F0502020204030204" pitchFamily="34" charset="0"/>
                </a:rPr>
                <a:t>Enter details regarding country guidelines, existing equipment, lab operations, sample transportation, costs, and site-level patient data, including but not limited to:</a:t>
              </a:r>
            </a:p>
            <a:p>
              <a:pPr marL="742950" lvl="1" indent="-285750" fontAlgn="base">
                <a:spcBef>
                  <a:spcPct val="0"/>
                </a:spcBef>
                <a:spcAft>
                  <a:spcPct val="0"/>
                </a:spcAft>
                <a:buSzPct val="100000"/>
                <a:buFont typeface="Courier New"/>
                <a:buChar char="o"/>
              </a:pPr>
              <a:r>
                <a:rPr lang="en-US" sz="1500" dirty="0" smtClean="0">
                  <a:solidFill>
                    <a:srgbClr val="000000"/>
                  </a:solidFill>
                  <a:latin typeface="Calibri" panose="020F0502020204030204" pitchFamily="34" charset="0"/>
                </a:rPr>
                <a:t>ART patients</a:t>
              </a:r>
            </a:p>
            <a:p>
              <a:pPr marL="742950" lvl="1" indent="-285750" fontAlgn="base">
                <a:spcBef>
                  <a:spcPct val="0"/>
                </a:spcBef>
                <a:spcAft>
                  <a:spcPct val="0"/>
                </a:spcAft>
                <a:buSzPct val="100000"/>
                <a:buFont typeface="Courier New"/>
                <a:buChar char="o"/>
              </a:pPr>
              <a:r>
                <a:rPr lang="en-US" sz="1500" dirty="0" smtClean="0">
                  <a:solidFill>
                    <a:srgbClr val="000000"/>
                  </a:solidFill>
                  <a:latin typeface="Calibri" panose="020F0502020204030204" pitchFamily="34" charset="0"/>
                </a:rPr>
                <a:t>PMTCT patients OR historical EID test numbers</a:t>
              </a:r>
            </a:p>
            <a:p>
              <a:pPr marL="742950" lvl="1" indent="-285750" fontAlgn="base">
                <a:spcBef>
                  <a:spcPct val="0"/>
                </a:spcBef>
                <a:spcAft>
                  <a:spcPct val="0"/>
                </a:spcAft>
                <a:buSzPct val="100000"/>
                <a:buFont typeface="Courier New"/>
                <a:buChar char="o"/>
              </a:pPr>
              <a:r>
                <a:rPr lang="en-US" sz="1500" dirty="0" smtClean="0">
                  <a:solidFill>
                    <a:srgbClr val="000000"/>
                  </a:solidFill>
                  <a:latin typeface="Calibri" panose="020F0502020204030204" pitchFamily="34" charset="0"/>
                </a:rPr>
                <a:t>Existing access to testing (EID or VL)</a:t>
              </a:r>
            </a:p>
            <a:p>
              <a:pPr marL="742950" lvl="1" indent="-285750" fontAlgn="base">
                <a:spcBef>
                  <a:spcPct val="0"/>
                </a:spcBef>
                <a:spcAft>
                  <a:spcPct val="0"/>
                </a:spcAft>
                <a:buSzPct val="100000"/>
                <a:buFont typeface="Courier New"/>
                <a:buChar char="o"/>
              </a:pPr>
              <a:r>
                <a:rPr lang="en-US" sz="1500" dirty="0" smtClean="0">
                  <a:solidFill>
                    <a:srgbClr val="000000"/>
                  </a:solidFill>
                  <a:latin typeface="Calibri" panose="020F0502020204030204" pitchFamily="34" charset="0"/>
                </a:rPr>
                <a:t>Distance from lab or turnaround time in days</a:t>
              </a:r>
            </a:p>
            <a:p>
              <a:pPr marL="742950" lvl="1" indent="-285750" fontAlgn="base">
                <a:spcBef>
                  <a:spcPct val="0"/>
                </a:spcBef>
                <a:spcAft>
                  <a:spcPct val="0"/>
                </a:spcAft>
                <a:buSzPct val="100000"/>
                <a:buFont typeface="Courier New"/>
                <a:buChar char="o"/>
              </a:pPr>
              <a:r>
                <a:rPr lang="en-US" sz="1500" dirty="0" smtClean="0">
                  <a:solidFill>
                    <a:srgbClr val="000000"/>
                  </a:solidFill>
                  <a:latin typeface="Calibri" panose="020F0502020204030204" pitchFamily="34" charset="0"/>
                </a:rPr>
                <a:t>Presence of pediatric or nutrition ward</a:t>
              </a:r>
            </a:p>
            <a:p>
              <a:pPr marL="742950" lvl="1" indent="-285750" fontAlgn="base">
                <a:spcBef>
                  <a:spcPct val="0"/>
                </a:spcBef>
                <a:spcAft>
                  <a:spcPct val="0"/>
                </a:spcAft>
                <a:buSzPct val="100000"/>
                <a:buFont typeface="Wingdings" panose="05000000000000000000" pitchFamily="2" charset="2"/>
                <a:buChar char="§"/>
              </a:pPr>
              <a:endParaRPr lang="en-US" sz="1500" dirty="0" smtClean="0">
                <a:solidFill>
                  <a:srgbClr val="000000"/>
                </a:solidFill>
                <a:latin typeface="Calibri" panose="020F0502020204030204" pitchFamily="34" charset="0"/>
              </a:endParaRPr>
            </a:p>
          </p:txBody>
        </p:sp>
      </p:grpSp>
      <p:sp>
        <p:nvSpPr>
          <p:cNvPr id="8" name="Oval 7"/>
          <p:cNvSpPr/>
          <p:nvPr/>
        </p:nvSpPr>
        <p:spPr bwMode="auto">
          <a:xfrm>
            <a:off x="95008" y="1639782"/>
            <a:ext cx="347581" cy="310774"/>
          </a:xfrm>
          <a:prstGeom prst="ellipse">
            <a:avLst/>
          </a:prstGeom>
          <a:solidFill>
            <a:srgbClr val="003366"/>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1400" b="1" dirty="0" smtClean="0">
                <a:solidFill>
                  <a:srgbClr val="FFFFFF"/>
                </a:solidFill>
                <a:latin typeface="Calibri" panose="020F0502020204030204" pitchFamily="34" charset="0"/>
              </a:rPr>
              <a:t>1</a:t>
            </a:r>
            <a:endParaRPr lang="en-US" b="1" dirty="0" smtClean="0">
              <a:solidFill>
                <a:srgbClr val="FFFFFF"/>
              </a:solidFill>
              <a:latin typeface="Calibri" panose="020F0502020204030204" pitchFamily="34" charset="0"/>
            </a:endParaRPr>
          </a:p>
        </p:txBody>
      </p:sp>
      <p:sp>
        <p:nvSpPr>
          <p:cNvPr id="11" name="TextBox 10"/>
          <p:cNvSpPr txBox="1"/>
          <p:nvPr/>
        </p:nvSpPr>
        <p:spPr>
          <a:xfrm>
            <a:off x="201884" y="988142"/>
            <a:ext cx="8788256" cy="523220"/>
          </a:xfrm>
          <a:prstGeom prst="rect">
            <a:avLst/>
          </a:prstGeom>
          <a:noFill/>
        </p:spPr>
        <p:txBody>
          <a:bodyPr wrap="square" rtlCol="0">
            <a:spAutoFit/>
          </a:bodyPr>
          <a:lstStyle/>
          <a:p>
            <a:pPr fontAlgn="base">
              <a:spcBef>
                <a:spcPct val="0"/>
              </a:spcBef>
              <a:spcAft>
                <a:spcPct val="0"/>
              </a:spcAft>
            </a:pPr>
            <a:r>
              <a:rPr lang="en-US" sz="1400" b="1" dirty="0" smtClean="0">
                <a:solidFill>
                  <a:srgbClr val="000000"/>
                </a:solidFill>
                <a:latin typeface="Calibri" panose="020F0502020204030204" pitchFamily="34" charset="0"/>
              </a:rPr>
              <a:t>Goal: Help countries determine optimal deployment of POC and conventional equipment at a site level to maximize patient impact while maintaining cost efficiency</a:t>
            </a:r>
            <a:endParaRPr lang="en-US" sz="1400" b="1" dirty="0">
              <a:solidFill>
                <a:srgbClr val="000000"/>
              </a:solidFill>
              <a:latin typeface="Calibri" panose="020F0502020204030204" pitchFamily="34" charset="0"/>
            </a:endParaRPr>
          </a:p>
        </p:txBody>
      </p:sp>
      <p:pic>
        <p:nvPicPr>
          <p:cNvPr id="9" name="Picture 8"/>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352059" y="5460065"/>
            <a:ext cx="8695031" cy="1247270"/>
          </a:xfrm>
          <a:prstGeom prst="rect">
            <a:avLst/>
          </a:prstGeom>
        </p:spPr>
      </p:pic>
      <p:grpSp>
        <p:nvGrpSpPr>
          <p:cNvPr id="12" name="Group 11"/>
          <p:cNvGrpSpPr/>
          <p:nvPr/>
        </p:nvGrpSpPr>
        <p:grpSpPr>
          <a:xfrm>
            <a:off x="214019" y="4157459"/>
            <a:ext cx="8763986" cy="1144575"/>
            <a:chOff x="344384" y="1377539"/>
            <a:chExt cx="8383980" cy="1365706"/>
          </a:xfrm>
        </p:grpSpPr>
        <p:sp>
          <p:nvSpPr>
            <p:cNvPr id="14" name="Rectangle 13"/>
            <p:cNvSpPr/>
            <p:nvPr/>
          </p:nvSpPr>
          <p:spPr bwMode="auto">
            <a:xfrm>
              <a:off x="344384" y="1377539"/>
              <a:ext cx="8383980" cy="415635"/>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1400" b="1" dirty="0" smtClean="0">
                  <a:solidFill>
                    <a:srgbClr val="000000"/>
                  </a:solidFill>
                  <a:latin typeface="Calibri" panose="020F0502020204030204" pitchFamily="34" charset="0"/>
                </a:rPr>
                <a:t>Assign site selection criteria</a:t>
              </a:r>
            </a:p>
          </p:txBody>
        </p:sp>
        <p:sp>
          <p:nvSpPr>
            <p:cNvPr id="15" name="Rectangle 14"/>
            <p:cNvSpPr/>
            <p:nvPr/>
          </p:nvSpPr>
          <p:spPr bwMode="auto">
            <a:xfrm>
              <a:off x="344384" y="1793174"/>
              <a:ext cx="8383980" cy="95007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indent="-285750" fontAlgn="base">
                <a:spcBef>
                  <a:spcPct val="0"/>
                </a:spcBef>
                <a:spcAft>
                  <a:spcPct val="0"/>
                </a:spcAft>
                <a:buSzPct val="100000"/>
                <a:buFont typeface="Arial"/>
                <a:buChar char="•"/>
              </a:pPr>
              <a:r>
                <a:rPr lang="en-US" sz="1500" dirty="0" smtClean="0">
                  <a:solidFill>
                    <a:srgbClr val="000000"/>
                  </a:solidFill>
                  <a:latin typeface="Calibri" panose="020F0502020204030204" pitchFamily="34" charset="0"/>
                </a:rPr>
                <a:t>Weight most important criteria for site selection, including minimizing cost, improving on-site access to testing, or maximizing patient coverage</a:t>
              </a:r>
            </a:p>
            <a:p>
              <a:pPr marL="285750" indent="-285750" fontAlgn="base">
                <a:spcBef>
                  <a:spcPct val="0"/>
                </a:spcBef>
                <a:spcAft>
                  <a:spcPct val="0"/>
                </a:spcAft>
                <a:buSzPct val="100000"/>
                <a:buFont typeface="Arial"/>
                <a:buChar char="•"/>
              </a:pPr>
              <a:r>
                <a:rPr lang="en-US" sz="1500" dirty="0" smtClean="0">
                  <a:solidFill>
                    <a:srgbClr val="000000"/>
                  </a:solidFill>
                  <a:latin typeface="Calibri" panose="020F0502020204030204" pitchFamily="34" charset="0"/>
                </a:rPr>
                <a:t>Choose maximum number of devices to be deployed per site</a:t>
              </a:r>
            </a:p>
          </p:txBody>
        </p:sp>
      </p:grpSp>
      <p:sp>
        <p:nvSpPr>
          <p:cNvPr id="16" name="Oval 15"/>
          <p:cNvSpPr/>
          <p:nvPr/>
        </p:nvSpPr>
        <p:spPr bwMode="auto">
          <a:xfrm>
            <a:off x="19549" y="4102003"/>
            <a:ext cx="332510" cy="310774"/>
          </a:xfrm>
          <a:prstGeom prst="ellipse">
            <a:avLst/>
          </a:prstGeom>
          <a:solidFill>
            <a:srgbClr val="003366"/>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1400" b="1" dirty="0">
                <a:solidFill>
                  <a:srgbClr val="FFFFFF"/>
                </a:solidFill>
                <a:latin typeface="Calibri" panose="020F0502020204030204" pitchFamily="34" charset="0"/>
              </a:rPr>
              <a:t>2</a:t>
            </a:r>
          </a:p>
        </p:txBody>
      </p:sp>
    </p:spTree>
    <p:extLst>
      <p:ext uri="{BB962C8B-B14F-4D97-AF65-F5344CB8AC3E}">
        <p14:creationId xmlns:p14="http://schemas.microsoft.com/office/powerpoint/2010/main" val="880438301"/>
      </p:ext>
    </p:extLst>
  </p:cSld>
  <p:clrMapOvr>
    <a:masterClrMapping/>
  </p:clrMapOvr>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 y="-1"/>
            <a:ext cx="9144000" cy="1008530"/>
          </a:xfrm>
          <a:solidFill>
            <a:srgbClr val="DDD9C3"/>
          </a:solidFill>
          <a:ln>
            <a:noFill/>
          </a:ln>
        </p:spPr>
        <p:txBody>
          <a:bodyPr vert="horz" lIns="91440" tIns="45720" rIns="91440" bIns="45720" rtlCol="0" anchor="ctr">
            <a:noAutofit/>
          </a:bodyPr>
          <a:lstStyle/>
          <a:p>
            <a:pPr marL="58738" indent="4763"/>
            <a:r>
              <a:rPr lang="en-US" sz="2200" kern="1200" dirty="0">
                <a:solidFill>
                  <a:schemeClr val="tx1"/>
                </a:solidFill>
                <a:cs typeface="Calibri"/>
              </a:rPr>
              <a:t>EID and VL Site and Product Selection Tool Overview (2 of 5)</a:t>
            </a:r>
          </a:p>
        </p:txBody>
      </p:sp>
      <p:grpSp>
        <p:nvGrpSpPr>
          <p:cNvPr id="5" name="Group 4"/>
          <p:cNvGrpSpPr/>
          <p:nvPr/>
        </p:nvGrpSpPr>
        <p:grpSpPr>
          <a:xfrm>
            <a:off x="201884" y="1286213"/>
            <a:ext cx="8763986" cy="1685587"/>
            <a:chOff x="344384" y="1377539"/>
            <a:chExt cx="8383980" cy="1685587"/>
          </a:xfrm>
        </p:grpSpPr>
        <p:sp>
          <p:nvSpPr>
            <p:cNvPr id="6" name="Rectangle 5"/>
            <p:cNvSpPr/>
            <p:nvPr/>
          </p:nvSpPr>
          <p:spPr bwMode="auto">
            <a:xfrm>
              <a:off x="344384" y="1377539"/>
              <a:ext cx="8383980" cy="415636"/>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1500" b="1" dirty="0" smtClean="0">
                  <a:solidFill>
                    <a:srgbClr val="000000"/>
                  </a:solidFill>
                  <a:latin typeface="Calibri" panose="020F0502020204030204" pitchFamily="34" charset="0"/>
                </a:rPr>
                <a:t>Assess existing coverage through conventional systems and role of POC</a:t>
              </a:r>
            </a:p>
          </p:txBody>
        </p:sp>
        <p:sp>
          <p:nvSpPr>
            <p:cNvPr id="7" name="Rectangle 6"/>
            <p:cNvSpPr/>
            <p:nvPr/>
          </p:nvSpPr>
          <p:spPr bwMode="auto">
            <a:xfrm>
              <a:off x="344384" y="1793174"/>
              <a:ext cx="8383980" cy="1269952"/>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indent="-285750" fontAlgn="base">
                <a:spcBef>
                  <a:spcPct val="0"/>
                </a:spcBef>
                <a:spcAft>
                  <a:spcPct val="0"/>
                </a:spcAft>
                <a:buSzPct val="100000"/>
                <a:buFont typeface="Arial"/>
                <a:buChar char="•"/>
              </a:pPr>
              <a:r>
                <a:rPr lang="en-US" sz="1500" dirty="0">
                  <a:solidFill>
                    <a:srgbClr val="000000"/>
                  </a:solidFill>
                  <a:latin typeface="Calibri" panose="020F0502020204030204" pitchFamily="34" charset="0"/>
                </a:rPr>
                <a:t>O</a:t>
              </a:r>
              <a:r>
                <a:rPr lang="en-US" sz="1500" dirty="0" smtClean="0">
                  <a:solidFill>
                    <a:srgbClr val="000000"/>
                  </a:solidFill>
                  <a:latin typeface="Calibri" panose="020F0502020204030204" pitchFamily="34" charset="0"/>
                </a:rPr>
                <a:t>utputs of site-level data used to define access to on-site testing 	</a:t>
              </a:r>
            </a:p>
            <a:p>
              <a:pPr marL="285750" indent="-285750" fontAlgn="base">
                <a:spcBef>
                  <a:spcPct val="0"/>
                </a:spcBef>
                <a:spcAft>
                  <a:spcPct val="0"/>
                </a:spcAft>
                <a:buSzPct val="100000"/>
                <a:buFont typeface="Arial"/>
                <a:buChar char="•"/>
              </a:pPr>
              <a:r>
                <a:rPr lang="en-US" sz="1500" dirty="0" smtClean="0">
                  <a:solidFill>
                    <a:srgbClr val="000000"/>
                  </a:solidFill>
                  <a:latin typeface="Calibri" panose="020F0502020204030204" pitchFamily="34" charset="0"/>
                </a:rPr>
                <a:t>User can test various scenarios shifting balance from conventional to POC at national level to determine potential patient and cost impact</a:t>
              </a:r>
            </a:p>
            <a:p>
              <a:pPr marL="285750" indent="-285750" fontAlgn="base">
                <a:spcBef>
                  <a:spcPct val="0"/>
                </a:spcBef>
                <a:spcAft>
                  <a:spcPct val="0"/>
                </a:spcAft>
                <a:buSzPct val="100000"/>
                <a:buFont typeface="Arial"/>
                <a:buChar char="•"/>
              </a:pPr>
              <a:r>
                <a:rPr lang="en-US" sz="1500" dirty="0" smtClean="0">
                  <a:solidFill>
                    <a:srgbClr val="000000"/>
                  </a:solidFill>
                  <a:latin typeface="Calibri" panose="020F0502020204030204" pitchFamily="34" charset="0"/>
                </a:rPr>
                <a:t>This will help inform the overall balance between POC and conventional testing in country</a:t>
              </a:r>
            </a:p>
          </p:txBody>
        </p:sp>
      </p:grpSp>
      <p:sp>
        <p:nvSpPr>
          <p:cNvPr id="8" name="Oval 7"/>
          <p:cNvSpPr/>
          <p:nvPr/>
        </p:nvSpPr>
        <p:spPr bwMode="auto">
          <a:xfrm>
            <a:off x="95008" y="1226838"/>
            <a:ext cx="347581" cy="310774"/>
          </a:xfrm>
          <a:prstGeom prst="ellipse">
            <a:avLst/>
          </a:prstGeom>
          <a:solidFill>
            <a:srgbClr val="003366"/>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1400" b="1" dirty="0">
                <a:solidFill>
                  <a:srgbClr val="FFFFFF"/>
                </a:solidFill>
                <a:latin typeface="Calibri" panose="020F0502020204030204" pitchFamily="34" charset="0"/>
              </a:rPr>
              <a:t>3</a:t>
            </a:r>
          </a:p>
        </p:txBody>
      </p:sp>
      <p:pic>
        <p:nvPicPr>
          <p:cNvPr id="3" name="Picture 2"/>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01884" y="3720703"/>
            <a:ext cx="7407481" cy="2908697"/>
          </a:xfrm>
          <a:prstGeom prst="rect">
            <a:avLst/>
          </a:prstGeom>
        </p:spPr>
      </p:pic>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496686" y="3052722"/>
            <a:ext cx="5483932" cy="1803612"/>
          </a:xfrm>
          <a:prstGeom prst="rect">
            <a:avLst/>
          </a:prstGeom>
        </p:spPr>
      </p:pic>
    </p:spTree>
    <p:extLst>
      <p:ext uri="{BB962C8B-B14F-4D97-AF65-F5344CB8AC3E}">
        <p14:creationId xmlns:p14="http://schemas.microsoft.com/office/powerpoint/2010/main" val="1122662240"/>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 y="-1"/>
            <a:ext cx="9144000" cy="1008530"/>
          </a:xfrm>
          <a:solidFill>
            <a:srgbClr val="DDD9C3"/>
          </a:solidFill>
          <a:ln>
            <a:noFill/>
          </a:ln>
        </p:spPr>
        <p:txBody>
          <a:bodyPr vert="horz" lIns="91440" tIns="45720" rIns="91440" bIns="45720" rtlCol="0" anchor="ctr">
            <a:noAutofit/>
          </a:bodyPr>
          <a:lstStyle/>
          <a:p>
            <a:pPr marL="58738" indent="4763"/>
            <a:r>
              <a:rPr lang="en-US" sz="2200" kern="1200" dirty="0">
                <a:solidFill>
                  <a:schemeClr val="tx1"/>
                </a:solidFill>
                <a:cs typeface="Calibri"/>
              </a:rPr>
              <a:t>EID and VL Site and Product Selection Tool Overview (3 of 5)</a:t>
            </a:r>
          </a:p>
        </p:txBody>
      </p:sp>
      <p:sp>
        <p:nvSpPr>
          <p:cNvPr id="14" name="Rectangle 13"/>
          <p:cNvSpPr/>
          <p:nvPr/>
        </p:nvSpPr>
        <p:spPr bwMode="auto">
          <a:xfrm>
            <a:off x="201884" y="5035838"/>
            <a:ext cx="8763986" cy="415636"/>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altLang="zh-CN" sz="1600" b="1" dirty="0">
                <a:solidFill>
                  <a:srgbClr val="000000"/>
                </a:solidFill>
                <a:latin typeface="Calibri" panose="020F0502020204030204" pitchFamily="34" charset="0"/>
              </a:rPr>
              <a:t>Review product pipeline and assign scores to products</a:t>
            </a:r>
          </a:p>
        </p:txBody>
      </p:sp>
      <p:sp>
        <p:nvSpPr>
          <p:cNvPr id="16" name="Oval 15"/>
          <p:cNvSpPr/>
          <p:nvPr/>
        </p:nvSpPr>
        <p:spPr bwMode="auto">
          <a:xfrm>
            <a:off x="35629" y="4932882"/>
            <a:ext cx="332510" cy="310774"/>
          </a:xfrm>
          <a:prstGeom prst="ellipse">
            <a:avLst/>
          </a:prstGeom>
          <a:solidFill>
            <a:srgbClr val="003366"/>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1400" b="1" dirty="0" smtClean="0">
                <a:solidFill>
                  <a:srgbClr val="FFFFFF"/>
                </a:solidFill>
                <a:latin typeface="Calibri" panose="020F0502020204030204" pitchFamily="34" charset="0"/>
              </a:rPr>
              <a:t>5</a:t>
            </a:r>
            <a:endParaRPr lang="en-US" b="1" dirty="0" smtClean="0">
              <a:solidFill>
                <a:srgbClr val="FFFFFF"/>
              </a:solidFill>
              <a:latin typeface="Calibri" panose="020F0502020204030204" pitchFamily="34" charset="0"/>
            </a:endParaRPr>
          </a:p>
        </p:txBody>
      </p:sp>
      <p:grpSp>
        <p:nvGrpSpPr>
          <p:cNvPr id="9" name="Group 8"/>
          <p:cNvGrpSpPr/>
          <p:nvPr/>
        </p:nvGrpSpPr>
        <p:grpSpPr>
          <a:xfrm>
            <a:off x="194470" y="1333154"/>
            <a:ext cx="8763986" cy="997091"/>
            <a:chOff x="344384" y="1377539"/>
            <a:chExt cx="8383980" cy="1189728"/>
          </a:xfrm>
        </p:grpSpPr>
        <p:sp>
          <p:nvSpPr>
            <p:cNvPr id="10" name="Rectangle 9"/>
            <p:cNvSpPr/>
            <p:nvPr/>
          </p:nvSpPr>
          <p:spPr bwMode="auto">
            <a:xfrm>
              <a:off x="344384" y="1377539"/>
              <a:ext cx="8383980" cy="415636"/>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1500" b="1" dirty="0" smtClean="0">
                  <a:solidFill>
                    <a:srgbClr val="000000"/>
                  </a:solidFill>
                  <a:latin typeface="Calibri" panose="020F0502020204030204" pitchFamily="34" charset="0"/>
                </a:rPr>
                <a:t>Determine key criteria for new product selection</a:t>
              </a:r>
            </a:p>
          </p:txBody>
        </p:sp>
        <p:sp>
          <p:nvSpPr>
            <p:cNvPr id="11" name="Rectangle 10"/>
            <p:cNvSpPr/>
            <p:nvPr/>
          </p:nvSpPr>
          <p:spPr bwMode="auto">
            <a:xfrm>
              <a:off x="344384" y="1793174"/>
              <a:ext cx="8383980" cy="774093"/>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indent="-285750" fontAlgn="base">
                <a:spcBef>
                  <a:spcPct val="0"/>
                </a:spcBef>
                <a:spcAft>
                  <a:spcPct val="0"/>
                </a:spcAft>
                <a:buSzPct val="100000"/>
                <a:buFont typeface="Arial"/>
                <a:buChar char="•"/>
              </a:pPr>
              <a:r>
                <a:rPr lang="en-US" sz="1500" dirty="0" smtClean="0">
                  <a:solidFill>
                    <a:srgbClr val="000000"/>
                  </a:solidFill>
                  <a:latin typeface="Calibri" panose="020F0502020204030204" pitchFamily="34" charset="0"/>
                </a:rPr>
                <a:t>Identify all the factors that should be considered when selecting new product</a:t>
              </a:r>
            </a:p>
            <a:p>
              <a:pPr marL="285750" indent="-285750" fontAlgn="base">
                <a:spcBef>
                  <a:spcPct val="0"/>
                </a:spcBef>
                <a:spcAft>
                  <a:spcPct val="0"/>
                </a:spcAft>
                <a:buSzPct val="100000"/>
                <a:buFont typeface="Arial"/>
                <a:buChar char="•"/>
              </a:pPr>
              <a:r>
                <a:rPr lang="en-US" sz="1500" dirty="0" smtClean="0">
                  <a:solidFill>
                    <a:srgbClr val="000000"/>
                  </a:solidFill>
                  <a:latin typeface="Calibri" panose="020F0502020204030204" pitchFamily="34" charset="0"/>
                </a:rPr>
                <a:t>Identify percentage weights to be given to each criteria</a:t>
              </a:r>
            </a:p>
          </p:txBody>
        </p:sp>
      </p:grpSp>
      <p:sp>
        <p:nvSpPr>
          <p:cNvPr id="17" name="Oval 16"/>
          <p:cNvSpPr/>
          <p:nvPr/>
        </p:nvSpPr>
        <p:spPr bwMode="auto">
          <a:xfrm>
            <a:off x="0" y="1277698"/>
            <a:ext cx="332510" cy="310774"/>
          </a:xfrm>
          <a:prstGeom prst="ellipse">
            <a:avLst/>
          </a:prstGeom>
          <a:solidFill>
            <a:srgbClr val="003366"/>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1400" b="1" dirty="0" smtClean="0">
                <a:solidFill>
                  <a:srgbClr val="FFFFFF"/>
                </a:solidFill>
                <a:latin typeface="Calibri" panose="020F0502020204030204" pitchFamily="34" charset="0"/>
              </a:rPr>
              <a:t>4</a:t>
            </a:r>
            <a:endParaRPr lang="en-US" b="1" dirty="0" smtClean="0">
              <a:solidFill>
                <a:srgbClr val="FFFFFF"/>
              </a:solidFill>
              <a:latin typeface="Calibri" panose="020F0502020204030204" pitchFamily="34" charset="0"/>
            </a:endParaRPr>
          </a:p>
        </p:txBody>
      </p:sp>
      <p:graphicFrame>
        <p:nvGraphicFramePr>
          <p:cNvPr id="19" name="Table 18"/>
          <p:cNvGraphicFramePr>
            <a:graphicFrameLocks noGrp="1"/>
          </p:cNvGraphicFramePr>
          <p:nvPr>
            <p:extLst>
              <p:ext uri="{D42A27DB-BD31-4B8C-83A1-F6EECF244321}">
                <p14:modId xmlns:p14="http://schemas.microsoft.com/office/powerpoint/2010/main" val="3689824264"/>
              </p:ext>
            </p:extLst>
          </p:nvPr>
        </p:nvGraphicFramePr>
        <p:xfrm>
          <a:off x="194468" y="2639772"/>
          <a:ext cx="8763988" cy="2095500"/>
        </p:xfrm>
        <a:graphic>
          <a:graphicData uri="http://schemas.openxmlformats.org/drawingml/2006/table">
            <a:tbl>
              <a:tblPr/>
              <a:tblGrid>
                <a:gridCol w="3385231"/>
                <a:gridCol w="1523354"/>
                <a:gridCol w="1335286"/>
                <a:gridCol w="1335286"/>
                <a:gridCol w="1184831"/>
              </a:tblGrid>
              <a:tr h="190500">
                <a:tc>
                  <a:txBody>
                    <a:bodyPr/>
                    <a:lstStyle/>
                    <a:p>
                      <a:pPr algn="l" fontAlgn="b"/>
                      <a:r>
                        <a:rPr lang="en-US" sz="1100" b="1" i="0" u="none" strike="noStrike" dirty="0" smtClean="0">
                          <a:solidFill>
                            <a:srgbClr val="000000"/>
                          </a:solidFill>
                          <a:effectLst/>
                          <a:latin typeface="Calibri"/>
                        </a:rPr>
                        <a:t>Performance Criteria</a:t>
                      </a:r>
                      <a:endParaRPr lang="en-US" sz="1100" b="1" i="0" u="none" strike="noStrike" dirty="0">
                        <a:solidFill>
                          <a:srgbClr val="000000"/>
                        </a:solidFill>
                        <a:effectLst/>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b"/>
                      <a:r>
                        <a:rPr lang="en-US" sz="1100" b="1" i="0" u="none" strike="noStrike">
                          <a:solidFill>
                            <a:srgbClr val="000000"/>
                          </a:solidFill>
                          <a:effectLst/>
                          <a:latin typeface="Calibri"/>
                        </a:rPr>
                        <a:t>&gt;</a:t>
                      </a:r>
                      <a:r>
                        <a:rPr lang="en-US" sz="1100" b="1" i="0" u="none" strike="noStrike" smtClean="0">
                          <a:solidFill>
                            <a:srgbClr val="000000"/>
                          </a:solidFill>
                          <a:effectLst/>
                          <a:latin typeface="Calibri"/>
                        </a:rPr>
                        <a:t>0 and &lt;=</a:t>
                      </a:r>
                      <a:r>
                        <a:rPr lang="en-US" sz="1100" b="1" i="0" u="none" strike="noStrike" dirty="0">
                          <a:solidFill>
                            <a:srgbClr val="000000"/>
                          </a:solidFill>
                          <a:effectLst/>
                          <a:latin typeface="Calibri"/>
                        </a:rPr>
                        <a:t>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b"/>
                      <a:r>
                        <a:rPr lang="en-US" sz="1100" b="1" i="0" u="none" strike="noStrike">
                          <a:solidFill>
                            <a:srgbClr val="000000"/>
                          </a:solidFill>
                          <a:effectLst/>
                          <a:latin typeface="Calibri"/>
                        </a:rPr>
                        <a:t>&gt;</a:t>
                      </a:r>
                      <a:r>
                        <a:rPr lang="en-US" sz="1100" b="1" i="0" u="none" strike="noStrike" smtClean="0">
                          <a:solidFill>
                            <a:srgbClr val="000000"/>
                          </a:solidFill>
                          <a:effectLst/>
                          <a:latin typeface="Calibri"/>
                        </a:rPr>
                        <a:t>5 and &lt;=</a:t>
                      </a:r>
                      <a:r>
                        <a:rPr lang="en-US" sz="1100" b="1" i="0" u="none" strike="noStrike" dirty="0">
                          <a:solidFill>
                            <a:srgbClr val="000000"/>
                          </a:solidFill>
                          <a:effectLst/>
                          <a:latin typeface="Calibri"/>
                        </a:rPr>
                        <a:t>1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b"/>
                      <a:r>
                        <a:rPr lang="en-US" sz="1100" b="1" i="0" u="none" strike="noStrike">
                          <a:solidFill>
                            <a:srgbClr val="000000"/>
                          </a:solidFill>
                          <a:effectLst/>
                          <a:latin typeface="Calibri"/>
                        </a:rPr>
                        <a:t>&gt;</a:t>
                      </a:r>
                      <a:r>
                        <a:rPr lang="en-US" sz="1100" b="1" i="0" u="none" strike="noStrike" smtClean="0">
                          <a:solidFill>
                            <a:srgbClr val="000000"/>
                          </a:solidFill>
                          <a:effectLst/>
                          <a:latin typeface="Calibri"/>
                        </a:rPr>
                        <a:t>10 and &lt;=</a:t>
                      </a:r>
                      <a:r>
                        <a:rPr lang="en-US" sz="1100" b="1" i="0" u="none" strike="noStrike" dirty="0">
                          <a:solidFill>
                            <a:srgbClr val="000000"/>
                          </a:solidFill>
                          <a:effectLst/>
                          <a:latin typeface="Calibri"/>
                        </a:rPr>
                        <a:t>2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c>
                  <a:txBody>
                    <a:bodyPr/>
                    <a:lstStyle/>
                    <a:p>
                      <a:pPr algn="ctr" fontAlgn="b"/>
                      <a:r>
                        <a:rPr lang="en-US" sz="1100" b="1" i="0" u="none" strike="noStrike">
                          <a:solidFill>
                            <a:srgbClr val="000000"/>
                          </a:solidFill>
                          <a:effectLst/>
                          <a:latin typeface="Calibri"/>
                        </a:rPr>
                        <a:t>&gt;2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95B3D7"/>
                    </a:solidFill>
                  </a:tcPr>
                </a:tc>
              </a:tr>
              <a:tr h="190500">
                <a:tc>
                  <a:txBody>
                    <a:bodyPr/>
                    <a:lstStyle/>
                    <a:p>
                      <a:pPr algn="l" fontAlgn="b"/>
                      <a:r>
                        <a:rPr lang="en-US" sz="1100" b="0" i="0" u="none" strike="noStrike" dirty="0" smtClean="0">
                          <a:solidFill>
                            <a:srgbClr val="000000"/>
                          </a:solidFill>
                          <a:effectLst/>
                          <a:latin typeface="Calibri"/>
                        </a:rPr>
                        <a:t>Tests Offered (EID</a:t>
                      </a:r>
                      <a:r>
                        <a:rPr lang="en-US" sz="1100" b="0" i="0" u="none" strike="noStrike" baseline="0" dirty="0" smtClean="0">
                          <a:solidFill>
                            <a:srgbClr val="000000"/>
                          </a:solidFill>
                          <a:effectLst/>
                          <a:latin typeface="Calibri"/>
                        </a:rPr>
                        <a:t> or VL)</a:t>
                      </a:r>
                      <a:endParaRPr lang="en-US" sz="1100" b="0" i="0" u="none" strike="noStrike" dirty="0">
                        <a:solidFill>
                          <a:srgbClr val="000000"/>
                        </a:solidFill>
                        <a:effectLst/>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ctr" fontAlgn="b"/>
                      <a:r>
                        <a:rPr lang="en-US" sz="1100" b="0" i="0" u="none" strike="noStrike" smtClean="0">
                          <a:solidFill>
                            <a:srgbClr val="000000"/>
                          </a:solidFill>
                          <a:effectLst/>
                          <a:latin typeface="Calibri"/>
                        </a:rPr>
                        <a:t> </a:t>
                      </a:r>
                      <a:endParaRPr lang="en-US" sz="1100" b="0" i="0" u="none" strike="noStrike" dirty="0">
                        <a:solidFill>
                          <a:srgbClr val="000000"/>
                        </a:solidFill>
                        <a:effectLst/>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ctr" fontAlgn="b"/>
                      <a:r>
                        <a:rPr lang="en-US" sz="1100" b="0" i="0" u="none" strike="noStrike" smtClean="0">
                          <a:solidFill>
                            <a:srgbClr val="000000"/>
                          </a:solidFill>
                          <a:effectLst/>
                          <a:latin typeface="Calibri"/>
                        </a:rPr>
                        <a:t> </a:t>
                      </a:r>
                      <a:endParaRPr lang="en-US" sz="1100" b="0" i="0" u="none" strike="noStrike" dirty="0">
                        <a:solidFill>
                          <a:srgbClr val="000000"/>
                        </a:solidFill>
                        <a:effectLst/>
                        <a:latin typeface="Calibri"/>
                      </a:endParaRP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ctr" fontAlgn="b"/>
                      <a:r>
                        <a:rPr lang="en-US" sz="1100" b="0" i="0" u="none" strike="noStrike">
                          <a:solidFill>
                            <a:srgbClr val="000000"/>
                          </a:solidFill>
                          <a:effectLst/>
                          <a:latin typeface="Calibri"/>
                        </a:rPr>
                        <a:t>5%</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ctr" fontAlgn="b"/>
                      <a:r>
                        <a:rPr lang="en-US" sz="1100" b="0" i="0" u="none" strike="noStrike">
                          <a:solidFill>
                            <a:srgbClr val="000000"/>
                          </a:solidFill>
                          <a:effectLst/>
                          <a:latin typeface="Calibri"/>
                        </a:rPr>
                        <a:t>1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r>
              <a:tr h="190500">
                <a:tc>
                  <a:txBody>
                    <a:bodyPr/>
                    <a:lstStyle/>
                    <a:p>
                      <a:pPr algn="l" fontAlgn="b"/>
                      <a:r>
                        <a:rPr lang="en-US" sz="1100" b="0" i="0" u="none" strike="noStrike" dirty="0" smtClean="0">
                          <a:solidFill>
                            <a:srgbClr val="000000"/>
                          </a:solidFill>
                          <a:effectLst/>
                          <a:latin typeface="Calibri"/>
                        </a:rPr>
                        <a:t>Quantitative/Semi-Quantitative</a:t>
                      </a:r>
                      <a:endParaRPr lang="en-US" sz="1100" b="0" i="0" u="none" strike="noStrike" dirty="0">
                        <a:solidFill>
                          <a:srgbClr val="000000"/>
                        </a:solidFill>
                        <a:effectLst/>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ctr" fontAlgn="b"/>
                      <a:r>
                        <a:rPr lang="en-US" sz="1100" b="0" i="0" u="none" strike="noStrike" smtClean="0">
                          <a:solidFill>
                            <a:srgbClr val="000000"/>
                          </a:solidFill>
                          <a:effectLst/>
                          <a:latin typeface="Calibri"/>
                        </a:rPr>
                        <a:t> </a:t>
                      </a:r>
                      <a:endParaRPr lang="en-US" sz="1100" b="0" i="0" u="none" strike="noStrike" dirty="0">
                        <a:solidFill>
                          <a:srgbClr val="000000"/>
                        </a:solidFill>
                        <a:effectLst/>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ctr" fontAlgn="b"/>
                      <a:r>
                        <a:rPr lang="en-US" sz="1100" b="0" i="0" u="none" strike="noStrike" smtClean="0">
                          <a:solidFill>
                            <a:srgbClr val="000000"/>
                          </a:solidFill>
                          <a:effectLst/>
                          <a:latin typeface="Calibri"/>
                        </a:rPr>
                        <a:t> </a:t>
                      </a:r>
                      <a:endParaRPr lang="en-US" sz="1100" b="0" i="0" u="none" strike="noStrike" dirty="0">
                        <a:solidFill>
                          <a:srgbClr val="000000"/>
                        </a:solidFill>
                        <a:effectLst/>
                        <a:latin typeface="Calibri"/>
                      </a:endParaRP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ctr" fontAlgn="b"/>
                      <a:r>
                        <a:rPr lang="en-US" sz="1100" b="0" i="0" u="none" strike="noStrike" smtClean="0">
                          <a:solidFill>
                            <a:srgbClr val="000000"/>
                          </a:solidFill>
                          <a:effectLst/>
                          <a:latin typeface="Calibri"/>
                        </a:rPr>
                        <a:t> </a:t>
                      </a:r>
                      <a:endParaRPr lang="en-US" sz="1100" b="0" i="0" u="none" strike="noStrike" dirty="0">
                        <a:solidFill>
                          <a:srgbClr val="000000"/>
                        </a:solidFill>
                        <a:effectLst/>
                        <a:latin typeface="Calibri"/>
                      </a:endParaRP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ctr" fontAlgn="b"/>
                      <a:r>
                        <a:rPr lang="en-US" sz="1100" b="0" i="0" u="none" strike="noStrike">
                          <a:solidFill>
                            <a:srgbClr val="000000"/>
                          </a:solidFill>
                          <a:effectLst/>
                          <a:latin typeface="Calibri"/>
                        </a:rPr>
                        <a:t>5%</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r>
              <a:tr h="190500">
                <a:tc>
                  <a:txBody>
                    <a:bodyPr/>
                    <a:lstStyle/>
                    <a:p>
                      <a:pPr algn="l" fontAlgn="b"/>
                      <a:r>
                        <a:rPr lang="en-US" sz="1100" b="0" i="0" u="none" strike="noStrike" dirty="0">
                          <a:solidFill>
                            <a:srgbClr val="000000"/>
                          </a:solidFill>
                          <a:effectLst/>
                          <a:latin typeface="Calibri"/>
                        </a:rPr>
                        <a:t>Device/Device-Free</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ctr" fontAlgn="b"/>
                      <a:r>
                        <a:rPr lang="en-US" sz="1100" b="0" i="0" u="none" strike="noStrike">
                          <a:solidFill>
                            <a:srgbClr val="000000"/>
                          </a:solidFill>
                          <a:effectLst/>
                          <a:latin typeface="Calibri"/>
                        </a:rPr>
                        <a:t>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ctr" fontAlgn="b"/>
                      <a:r>
                        <a:rPr lang="en-US" sz="1100" b="0" i="0" u="none" strike="noStrike">
                          <a:solidFill>
                            <a:srgbClr val="000000"/>
                          </a:solidFill>
                          <a:effectLst/>
                          <a:latin typeface="Calibri"/>
                        </a:rPr>
                        <a:t>5%</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ctr" fontAlgn="b"/>
                      <a:r>
                        <a:rPr lang="en-US" sz="1100" b="0" i="0" u="none" strike="noStrike" smtClean="0">
                          <a:solidFill>
                            <a:srgbClr val="000000"/>
                          </a:solidFill>
                          <a:effectLst/>
                          <a:latin typeface="Calibri"/>
                        </a:rPr>
                        <a:t> </a:t>
                      </a:r>
                      <a:endParaRPr lang="en-US" sz="1100" b="0" i="0" u="none" strike="noStrike" dirty="0">
                        <a:solidFill>
                          <a:srgbClr val="000000"/>
                        </a:solidFill>
                        <a:effectLst/>
                        <a:latin typeface="Calibri"/>
                      </a:endParaRP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ctr" fontAlgn="b"/>
                      <a:r>
                        <a:rPr lang="en-US" sz="1100" b="0" i="0" u="none" strike="noStrike" smtClean="0">
                          <a:solidFill>
                            <a:srgbClr val="000000"/>
                          </a:solidFill>
                          <a:effectLst/>
                          <a:latin typeface="Calibri"/>
                        </a:rPr>
                        <a:t> </a:t>
                      </a:r>
                      <a:endParaRPr lang="en-US" sz="1100" b="0" i="0" u="none" strike="noStrike" dirty="0">
                        <a:solidFill>
                          <a:srgbClr val="000000"/>
                        </a:solidFill>
                        <a:effectLst/>
                        <a:latin typeface="Calibri"/>
                      </a:endParaRP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r>
              <a:tr h="190500">
                <a:tc>
                  <a:txBody>
                    <a:bodyPr/>
                    <a:lstStyle/>
                    <a:p>
                      <a:pPr algn="l" fontAlgn="b"/>
                      <a:r>
                        <a:rPr lang="en-US" sz="1100" b="0" i="0" u="none" strike="noStrike">
                          <a:solidFill>
                            <a:srgbClr val="000000"/>
                          </a:solidFill>
                          <a:effectLst/>
                          <a:latin typeface="Calibri"/>
                        </a:rPr>
                        <a:t>Throughpu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ctr" fontAlgn="b"/>
                      <a:r>
                        <a:rPr lang="en-US" sz="1100" b="0" i="0" u="none" strike="noStrike" smtClean="0">
                          <a:solidFill>
                            <a:srgbClr val="000000"/>
                          </a:solidFill>
                          <a:effectLst/>
                          <a:latin typeface="Calibri"/>
                        </a:rPr>
                        <a:t> </a:t>
                      </a:r>
                      <a:endParaRPr lang="en-US" sz="1100" b="0" i="0" u="none" strike="noStrike" dirty="0">
                        <a:solidFill>
                          <a:srgbClr val="000000"/>
                        </a:solidFill>
                        <a:effectLst/>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ctr" fontAlgn="b"/>
                      <a:r>
                        <a:rPr lang="en-US" sz="1100" b="0" i="0" u="none" strike="noStrike" smtClean="0">
                          <a:solidFill>
                            <a:srgbClr val="000000"/>
                          </a:solidFill>
                          <a:effectLst/>
                          <a:latin typeface="Calibri"/>
                        </a:rPr>
                        <a:t> </a:t>
                      </a:r>
                      <a:endParaRPr lang="en-US" sz="1100" b="0" i="0" u="none" strike="noStrike" dirty="0">
                        <a:solidFill>
                          <a:srgbClr val="000000"/>
                        </a:solidFill>
                        <a:effectLst/>
                        <a:latin typeface="Calibri"/>
                      </a:endParaRP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ctr" fontAlgn="b"/>
                      <a:r>
                        <a:rPr lang="en-US" sz="1100" b="0" i="0" u="none" strike="noStrike">
                          <a:solidFill>
                            <a:srgbClr val="000000"/>
                          </a:solidFill>
                          <a:effectLst/>
                          <a:latin typeface="Calibri"/>
                        </a:rPr>
                        <a:t>15%</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ctr" fontAlgn="b"/>
                      <a:r>
                        <a:rPr lang="en-US" sz="1100" b="0" i="0" u="none" strike="noStrike">
                          <a:solidFill>
                            <a:srgbClr val="000000"/>
                          </a:solidFill>
                          <a:effectLst/>
                          <a:latin typeface="Calibri"/>
                        </a:rPr>
                        <a:t>25%</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r>
              <a:tr h="190500">
                <a:tc>
                  <a:txBody>
                    <a:bodyPr/>
                    <a:lstStyle/>
                    <a:p>
                      <a:pPr algn="l" fontAlgn="b"/>
                      <a:r>
                        <a:rPr lang="en-US" sz="1100" b="0" i="0" u="none" strike="noStrike" smtClean="0">
                          <a:solidFill>
                            <a:srgbClr val="000000"/>
                          </a:solidFill>
                          <a:effectLst/>
                          <a:latin typeface="Calibri"/>
                        </a:rPr>
                        <a:t>Power Source</a:t>
                      </a:r>
                      <a:endParaRPr lang="en-US" sz="1100" b="0" i="0" u="none" strike="noStrike" dirty="0">
                        <a:solidFill>
                          <a:srgbClr val="000000"/>
                        </a:solidFill>
                        <a:effectLst/>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ctr" fontAlgn="b"/>
                      <a:r>
                        <a:rPr lang="en-US" sz="1100" b="0" i="0" u="none" strike="noStrike">
                          <a:solidFill>
                            <a:srgbClr val="000000"/>
                          </a:solidFill>
                          <a:effectLst/>
                          <a:latin typeface="Calibri"/>
                        </a:rPr>
                        <a:t>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ctr" fontAlgn="b"/>
                      <a:r>
                        <a:rPr lang="en-US" sz="1100" b="0" i="0" u="none" strike="noStrike">
                          <a:solidFill>
                            <a:srgbClr val="000000"/>
                          </a:solidFill>
                          <a:effectLst/>
                          <a:latin typeface="Calibri"/>
                        </a:rPr>
                        <a:t>2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ctr" fontAlgn="b"/>
                      <a:r>
                        <a:rPr lang="en-US" sz="1100" b="0" i="0" u="none" strike="noStrike">
                          <a:solidFill>
                            <a:srgbClr val="000000"/>
                          </a:solidFill>
                          <a:effectLst/>
                          <a:latin typeface="Calibri"/>
                        </a:rPr>
                        <a:t>1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ctr" fontAlgn="b"/>
                      <a:r>
                        <a:rPr lang="en-US" sz="1100" b="0" i="0" u="none" strike="noStrike">
                          <a:solidFill>
                            <a:srgbClr val="000000"/>
                          </a:solidFill>
                          <a:effectLst/>
                          <a:latin typeface="Calibri"/>
                        </a:rPr>
                        <a:t>1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r>
              <a:tr h="190500">
                <a:tc>
                  <a:txBody>
                    <a:bodyPr/>
                    <a:lstStyle/>
                    <a:p>
                      <a:pPr algn="l" fontAlgn="b"/>
                      <a:r>
                        <a:rPr lang="en-US" sz="1100" b="0" i="0" u="none" strike="noStrike">
                          <a:solidFill>
                            <a:srgbClr val="000000"/>
                          </a:solidFill>
                          <a:effectLst/>
                          <a:latin typeface="Calibri"/>
                        </a:rPr>
                        <a:t>Connectivity</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ctr" fontAlgn="b"/>
                      <a:r>
                        <a:rPr lang="en-US" sz="1100" b="0" i="0" u="none" strike="noStrike">
                          <a:solidFill>
                            <a:srgbClr val="000000"/>
                          </a:solidFill>
                          <a:effectLst/>
                          <a:latin typeface="Calibri"/>
                        </a:rPr>
                        <a:t>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ctr" fontAlgn="b"/>
                      <a:r>
                        <a:rPr lang="en-US" sz="1100" b="0" i="0" u="none" strike="noStrike">
                          <a:solidFill>
                            <a:srgbClr val="000000"/>
                          </a:solidFill>
                          <a:effectLst/>
                          <a:latin typeface="Calibri"/>
                        </a:rPr>
                        <a:t>1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ctr" fontAlgn="b"/>
                      <a:r>
                        <a:rPr lang="en-US" sz="1100" b="0" i="0" u="none" strike="noStrike">
                          <a:solidFill>
                            <a:srgbClr val="000000"/>
                          </a:solidFill>
                          <a:effectLst/>
                          <a:latin typeface="Calibri"/>
                        </a:rPr>
                        <a:t>2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ctr" fontAlgn="b"/>
                      <a:r>
                        <a:rPr lang="en-US" sz="1100" b="0" i="0" u="none" strike="noStrike">
                          <a:solidFill>
                            <a:srgbClr val="000000"/>
                          </a:solidFill>
                          <a:effectLst/>
                          <a:latin typeface="Calibri"/>
                        </a:rPr>
                        <a:t>15%</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r>
              <a:tr h="190500">
                <a:tc>
                  <a:txBody>
                    <a:bodyPr/>
                    <a:lstStyle/>
                    <a:p>
                      <a:pPr algn="l" fontAlgn="b"/>
                      <a:r>
                        <a:rPr lang="en-US" sz="1100" b="0" i="0" u="none" strike="noStrike" smtClean="0">
                          <a:solidFill>
                            <a:srgbClr val="000000"/>
                          </a:solidFill>
                          <a:effectLst/>
                          <a:latin typeface="Calibri"/>
                        </a:rPr>
                        <a:t>Device Cost</a:t>
                      </a:r>
                      <a:endParaRPr lang="en-US" sz="1100" b="0" i="0" u="none" strike="noStrike" dirty="0">
                        <a:solidFill>
                          <a:srgbClr val="000000"/>
                        </a:solidFill>
                        <a:effectLst/>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ctr" fontAlgn="b"/>
                      <a:r>
                        <a:rPr lang="en-US" sz="1100" b="0" i="0" u="none" strike="noStrike">
                          <a:solidFill>
                            <a:srgbClr val="000000"/>
                          </a:solidFill>
                          <a:effectLst/>
                          <a:latin typeface="Calibri"/>
                        </a:rPr>
                        <a:t>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ctr" fontAlgn="b"/>
                      <a:r>
                        <a:rPr lang="en-US" sz="1100" b="0" i="0" u="none" strike="noStrike">
                          <a:solidFill>
                            <a:srgbClr val="000000"/>
                          </a:solidFill>
                          <a:effectLst/>
                          <a:latin typeface="Calibri"/>
                        </a:rPr>
                        <a:t>2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ctr" fontAlgn="b"/>
                      <a:r>
                        <a:rPr lang="en-US" sz="1100" b="0" i="0" u="none" strike="noStrike">
                          <a:solidFill>
                            <a:srgbClr val="000000"/>
                          </a:solidFill>
                          <a:effectLst/>
                          <a:latin typeface="Calibri"/>
                        </a:rPr>
                        <a:t>1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ctr" fontAlgn="b"/>
                      <a:r>
                        <a:rPr lang="en-US" sz="1100" b="0" i="0" u="none" strike="noStrike">
                          <a:solidFill>
                            <a:srgbClr val="000000"/>
                          </a:solidFill>
                          <a:effectLst/>
                          <a:latin typeface="Calibri"/>
                        </a:rPr>
                        <a:t>5%</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r>
              <a:tr h="190500">
                <a:tc>
                  <a:txBody>
                    <a:bodyPr/>
                    <a:lstStyle/>
                    <a:p>
                      <a:pPr algn="l" fontAlgn="b"/>
                      <a:r>
                        <a:rPr lang="en-US" sz="1100" b="0" i="0" u="none" strike="noStrike" smtClean="0">
                          <a:solidFill>
                            <a:srgbClr val="000000"/>
                          </a:solidFill>
                          <a:effectLst/>
                          <a:latin typeface="Calibri"/>
                        </a:rPr>
                        <a:t>Reagent Cost</a:t>
                      </a:r>
                      <a:endParaRPr lang="en-US" sz="1100" b="0" i="0" u="none" strike="noStrike" dirty="0">
                        <a:solidFill>
                          <a:srgbClr val="000000"/>
                        </a:solidFill>
                        <a:effectLst/>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ctr" fontAlgn="b"/>
                      <a:r>
                        <a:rPr lang="en-US" sz="1100" b="0" i="0" u="none" strike="noStrike">
                          <a:solidFill>
                            <a:srgbClr val="000000"/>
                          </a:solidFill>
                          <a:effectLst/>
                          <a:latin typeface="Calibri"/>
                        </a:rPr>
                        <a:t>1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ctr" fontAlgn="b"/>
                      <a:r>
                        <a:rPr lang="en-US" sz="1100" b="0" i="0" u="none" strike="noStrike">
                          <a:solidFill>
                            <a:srgbClr val="000000"/>
                          </a:solidFill>
                          <a:effectLst/>
                          <a:latin typeface="Calibri"/>
                        </a:rPr>
                        <a:t>1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ctr" fontAlgn="b"/>
                      <a:r>
                        <a:rPr lang="en-US" sz="1100" b="0" i="0" u="none" strike="noStrike">
                          <a:solidFill>
                            <a:srgbClr val="000000"/>
                          </a:solidFill>
                          <a:effectLst/>
                          <a:latin typeface="Calibri"/>
                        </a:rPr>
                        <a:t>1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ctr" fontAlgn="b"/>
                      <a:r>
                        <a:rPr lang="en-US" sz="1100" b="0" i="0" u="none" strike="noStrike">
                          <a:solidFill>
                            <a:srgbClr val="000000"/>
                          </a:solidFill>
                          <a:effectLst/>
                          <a:latin typeface="Calibri"/>
                        </a:rPr>
                        <a:t>1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r>
              <a:tr h="190500">
                <a:tc>
                  <a:txBody>
                    <a:bodyPr/>
                    <a:lstStyle/>
                    <a:p>
                      <a:pPr algn="l" fontAlgn="b"/>
                      <a:r>
                        <a:rPr lang="en-US" sz="1100" b="0" i="0" u="none" strike="noStrike" smtClean="0">
                          <a:solidFill>
                            <a:srgbClr val="000000"/>
                          </a:solidFill>
                          <a:effectLst/>
                          <a:latin typeface="Calibri"/>
                        </a:rPr>
                        <a:t>Ease of Use</a:t>
                      </a:r>
                      <a:endParaRPr lang="en-US" sz="1100" b="0" i="0" u="none" strike="noStrike" dirty="0">
                        <a:solidFill>
                          <a:srgbClr val="000000"/>
                        </a:solidFill>
                        <a:effectLst/>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ctr" fontAlgn="b"/>
                      <a:r>
                        <a:rPr lang="en-US" sz="1100" b="0" i="0" u="none" strike="noStrike">
                          <a:solidFill>
                            <a:srgbClr val="000000"/>
                          </a:solidFill>
                          <a:effectLst/>
                          <a:latin typeface="Calibri"/>
                        </a:rPr>
                        <a:t>15%</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ctr" fontAlgn="b"/>
                      <a:r>
                        <a:rPr lang="en-US" sz="1100" b="0" i="0" u="none" strike="noStrike">
                          <a:solidFill>
                            <a:srgbClr val="000000"/>
                          </a:solidFill>
                          <a:effectLst/>
                          <a:latin typeface="Calibri"/>
                        </a:rPr>
                        <a:t>15%</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ctr" fontAlgn="b"/>
                      <a:r>
                        <a:rPr lang="en-US" sz="1100" b="0" i="0" u="none" strike="noStrike">
                          <a:solidFill>
                            <a:srgbClr val="000000"/>
                          </a:solidFill>
                          <a:effectLst/>
                          <a:latin typeface="Calibri"/>
                        </a:rPr>
                        <a:t>15%</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c>
                  <a:txBody>
                    <a:bodyPr/>
                    <a:lstStyle/>
                    <a:p>
                      <a:pPr algn="ctr" fontAlgn="b"/>
                      <a:r>
                        <a:rPr lang="en-US" sz="1100" b="0" i="0" u="none" strike="noStrike">
                          <a:solidFill>
                            <a:srgbClr val="000000"/>
                          </a:solidFill>
                          <a:effectLst/>
                          <a:latin typeface="Calibri"/>
                        </a:rPr>
                        <a:t>5%</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99"/>
                    </a:solidFill>
                  </a:tcPr>
                </a:tc>
              </a:tr>
              <a:tr h="190500">
                <a:tc>
                  <a:txBody>
                    <a:bodyPr/>
                    <a:lstStyle/>
                    <a:p>
                      <a:pPr algn="l" fontAlgn="b"/>
                      <a:r>
                        <a:rPr lang="en-US" sz="1100" b="0" i="0" u="none" strike="noStrike" dirty="0" smtClean="0">
                          <a:solidFill>
                            <a:srgbClr val="000000"/>
                          </a:solidFill>
                          <a:effectLst/>
                          <a:latin typeface="Calibri"/>
                        </a:rPr>
                        <a:t>After-Sale Support</a:t>
                      </a:r>
                      <a:endParaRPr lang="en-US" sz="1100" b="0" i="0" u="none" strike="noStrike" dirty="0">
                        <a:solidFill>
                          <a:srgbClr val="000000"/>
                        </a:solidFill>
                        <a:effectLst/>
                        <a:latin typeface="Calibri"/>
                      </a:endParaRP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D9D9D9"/>
                    </a:solidFill>
                  </a:tcPr>
                </a:tc>
                <a:tc>
                  <a:txBody>
                    <a:bodyPr/>
                    <a:lstStyle/>
                    <a:p>
                      <a:pPr algn="ctr" fontAlgn="b"/>
                      <a:r>
                        <a:rPr lang="en-US" sz="1100" b="0" i="0" u="none" strike="noStrike">
                          <a:solidFill>
                            <a:srgbClr val="000000"/>
                          </a:solidFill>
                          <a:effectLst/>
                          <a:latin typeface="Calibri"/>
                        </a:rPr>
                        <a:t>20%</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ctr" fontAlgn="b"/>
                      <a:r>
                        <a:rPr lang="en-US" sz="1100" b="0" i="0" u="none" strike="noStrike">
                          <a:solidFill>
                            <a:srgbClr val="000000"/>
                          </a:solidFill>
                          <a:effectLst/>
                          <a:latin typeface="Calibri"/>
                        </a:rPr>
                        <a:t>20%</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ctr" fontAlgn="b"/>
                      <a:r>
                        <a:rPr lang="en-US" sz="1100" b="0" i="0" u="none" strike="noStrike">
                          <a:solidFill>
                            <a:srgbClr val="000000"/>
                          </a:solidFill>
                          <a:effectLst/>
                          <a:latin typeface="Calibri"/>
                        </a:rPr>
                        <a:t>15%</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c>
                  <a:txBody>
                    <a:bodyPr/>
                    <a:lstStyle/>
                    <a:p>
                      <a:pPr algn="ctr" fontAlgn="b"/>
                      <a:r>
                        <a:rPr lang="en-US" sz="1100" b="0" i="0" u="none" strike="noStrike" dirty="0">
                          <a:solidFill>
                            <a:srgbClr val="000000"/>
                          </a:solidFill>
                          <a:effectLst/>
                          <a:latin typeface="Calibri"/>
                        </a:rPr>
                        <a:t>15%</a:t>
                      </a:r>
                    </a:p>
                  </a:txBody>
                  <a:tcPr marL="0" marR="0" marT="0" marB="0" anchor="b">
                    <a:lnL w="6350" cap="flat" cmpd="sng" algn="ctr">
                      <a:solidFill>
                        <a:srgbClr val="000000"/>
                      </a:solidFill>
                      <a:prstDash val="dot"/>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solid"/>
                      <a:round/>
                      <a:headEnd type="none" w="med" len="med"/>
                      <a:tailEnd type="none" w="med" len="med"/>
                    </a:lnB>
                    <a:solidFill>
                      <a:srgbClr val="FFFF99"/>
                    </a:solidFill>
                  </a:tcPr>
                </a:tc>
              </a:tr>
            </a:tbl>
          </a:graphicData>
        </a:graphic>
      </p:graphicFrame>
      <p:sp>
        <p:nvSpPr>
          <p:cNvPr id="20" name="Rectangle 19"/>
          <p:cNvSpPr/>
          <p:nvPr/>
        </p:nvSpPr>
        <p:spPr bwMode="auto">
          <a:xfrm>
            <a:off x="201884" y="5822418"/>
            <a:ext cx="8763986" cy="415636"/>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altLang="zh-CN" sz="1600" b="1" dirty="0" smtClean="0">
                <a:solidFill>
                  <a:srgbClr val="000000"/>
                </a:solidFill>
                <a:latin typeface="Calibri" panose="020F0502020204030204" pitchFamily="34" charset="0"/>
              </a:rPr>
              <a:t>Select new products to deploy</a:t>
            </a:r>
            <a:endParaRPr lang="en-US" altLang="zh-CN" sz="1600" b="1" dirty="0">
              <a:solidFill>
                <a:srgbClr val="000000"/>
              </a:solidFill>
              <a:latin typeface="Calibri" panose="020F0502020204030204" pitchFamily="34" charset="0"/>
            </a:endParaRPr>
          </a:p>
        </p:txBody>
      </p:sp>
      <p:sp>
        <p:nvSpPr>
          <p:cNvPr id="21" name="Oval 20"/>
          <p:cNvSpPr/>
          <p:nvPr/>
        </p:nvSpPr>
        <p:spPr bwMode="auto">
          <a:xfrm>
            <a:off x="35629" y="5719462"/>
            <a:ext cx="332510" cy="310774"/>
          </a:xfrm>
          <a:prstGeom prst="ellipse">
            <a:avLst/>
          </a:prstGeom>
          <a:solidFill>
            <a:srgbClr val="003366"/>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1400" b="1" dirty="0">
                <a:solidFill>
                  <a:srgbClr val="FFFFFF"/>
                </a:solidFill>
                <a:latin typeface="Calibri" panose="020F0502020204030204" pitchFamily="34" charset="0"/>
              </a:rPr>
              <a:t>6</a:t>
            </a:r>
            <a:endParaRPr lang="en-US" b="1" dirty="0" smtClean="0">
              <a:solidFill>
                <a:srgbClr val="FFFFFF"/>
              </a:solidFill>
              <a:latin typeface="Calibri" panose="020F0502020204030204" pitchFamily="34" charset="0"/>
            </a:endParaRPr>
          </a:p>
        </p:txBody>
      </p:sp>
    </p:spTree>
    <p:extLst>
      <p:ext uri="{BB962C8B-B14F-4D97-AF65-F5344CB8AC3E}">
        <p14:creationId xmlns:p14="http://schemas.microsoft.com/office/powerpoint/2010/main" val="707358565"/>
      </p:ext>
    </p:extLst>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 y="-1"/>
            <a:ext cx="9144000" cy="1008530"/>
          </a:xfrm>
          <a:solidFill>
            <a:srgbClr val="DDD9C3"/>
          </a:solidFill>
          <a:ln>
            <a:noFill/>
          </a:ln>
        </p:spPr>
        <p:txBody>
          <a:bodyPr vert="horz" lIns="91440" tIns="45720" rIns="91440" bIns="45720" rtlCol="0" anchor="ctr">
            <a:noAutofit/>
          </a:bodyPr>
          <a:lstStyle/>
          <a:p>
            <a:pPr marL="58738" indent="4763"/>
            <a:r>
              <a:rPr lang="en-US" sz="2200" kern="1200" dirty="0">
                <a:solidFill>
                  <a:schemeClr val="tx1"/>
                </a:solidFill>
                <a:cs typeface="Calibri"/>
              </a:rPr>
              <a:t>EID and VL Site and Product Selection Tool Overview (4 of 5)</a:t>
            </a:r>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4470" y="2566220"/>
            <a:ext cx="8763986" cy="2475270"/>
          </a:xfrm>
          <a:prstGeom prst="rect">
            <a:avLst/>
          </a:prstGeom>
        </p:spPr>
      </p:pic>
      <p:grpSp>
        <p:nvGrpSpPr>
          <p:cNvPr id="30" name="Group 29"/>
          <p:cNvGrpSpPr/>
          <p:nvPr/>
        </p:nvGrpSpPr>
        <p:grpSpPr>
          <a:xfrm>
            <a:off x="199390" y="1397032"/>
            <a:ext cx="8763986" cy="1144575"/>
            <a:chOff x="344384" y="1377539"/>
            <a:chExt cx="8383980" cy="1365706"/>
          </a:xfrm>
        </p:grpSpPr>
        <p:sp>
          <p:nvSpPr>
            <p:cNvPr id="31" name="Rectangle 30"/>
            <p:cNvSpPr/>
            <p:nvPr/>
          </p:nvSpPr>
          <p:spPr bwMode="auto">
            <a:xfrm>
              <a:off x="344384" y="1377539"/>
              <a:ext cx="8383980" cy="415635"/>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1600" b="1" dirty="0" smtClean="0">
                  <a:solidFill>
                    <a:srgbClr val="000000"/>
                  </a:solidFill>
                  <a:latin typeface="Arial"/>
                </a:rPr>
                <a:t>Score and select sites and assign products</a:t>
              </a:r>
            </a:p>
          </p:txBody>
        </p:sp>
        <p:sp>
          <p:nvSpPr>
            <p:cNvPr id="32" name="Rectangle 31"/>
            <p:cNvSpPr/>
            <p:nvPr/>
          </p:nvSpPr>
          <p:spPr bwMode="auto">
            <a:xfrm>
              <a:off x="344384" y="1793174"/>
              <a:ext cx="8383980" cy="950071"/>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indent="-285750" fontAlgn="base">
                <a:spcBef>
                  <a:spcPct val="0"/>
                </a:spcBef>
                <a:spcAft>
                  <a:spcPct val="0"/>
                </a:spcAft>
                <a:buSzPct val="100000"/>
                <a:buFont typeface="Arial"/>
                <a:buChar char="•"/>
              </a:pPr>
              <a:r>
                <a:rPr lang="en-US" sz="1500" dirty="0" smtClean="0">
                  <a:solidFill>
                    <a:srgbClr val="000000"/>
                  </a:solidFill>
                  <a:latin typeface="Arial"/>
                </a:rPr>
                <a:t>Sort sites to rank from highest to lowest based on EID, VL, or both</a:t>
              </a:r>
            </a:p>
            <a:p>
              <a:pPr marL="285750" indent="-285750" fontAlgn="base">
                <a:spcBef>
                  <a:spcPct val="0"/>
                </a:spcBef>
                <a:spcAft>
                  <a:spcPct val="0"/>
                </a:spcAft>
                <a:buSzPct val="100000"/>
                <a:buFont typeface="Arial"/>
                <a:buChar char="•"/>
              </a:pPr>
              <a:r>
                <a:rPr lang="en-US" sz="1500" dirty="0" smtClean="0">
                  <a:solidFill>
                    <a:srgbClr val="000000"/>
                  </a:solidFill>
                  <a:latin typeface="Arial"/>
                </a:rPr>
                <a:t>Select which sites will be chosen for new product deployment</a:t>
              </a:r>
            </a:p>
            <a:p>
              <a:pPr marL="285750" indent="-285750" fontAlgn="base">
                <a:spcBef>
                  <a:spcPct val="0"/>
                </a:spcBef>
                <a:spcAft>
                  <a:spcPct val="0"/>
                </a:spcAft>
                <a:buSzPct val="100000"/>
                <a:buFont typeface="Arial"/>
                <a:buChar char="•"/>
              </a:pPr>
              <a:r>
                <a:rPr lang="en-US" sz="1500" dirty="0" smtClean="0">
                  <a:solidFill>
                    <a:srgbClr val="000000"/>
                  </a:solidFill>
                  <a:latin typeface="Arial"/>
                </a:rPr>
                <a:t>Designate product for all chosen sites</a:t>
              </a:r>
            </a:p>
          </p:txBody>
        </p:sp>
      </p:grpSp>
      <p:sp>
        <p:nvSpPr>
          <p:cNvPr id="33" name="Oval 32"/>
          <p:cNvSpPr/>
          <p:nvPr/>
        </p:nvSpPr>
        <p:spPr bwMode="auto">
          <a:xfrm>
            <a:off x="4920" y="1341576"/>
            <a:ext cx="332510" cy="310774"/>
          </a:xfrm>
          <a:prstGeom prst="ellipse">
            <a:avLst/>
          </a:prstGeom>
          <a:solidFill>
            <a:srgbClr val="003366"/>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1400" b="1" dirty="0">
                <a:solidFill>
                  <a:srgbClr val="FFFFFF"/>
                </a:solidFill>
                <a:latin typeface="Arial"/>
              </a:rPr>
              <a:t>7</a:t>
            </a:r>
            <a:endParaRPr lang="en-US" b="1" dirty="0" smtClean="0">
              <a:solidFill>
                <a:srgbClr val="FFFFFF"/>
              </a:solidFill>
              <a:latin typeface="Arial"/>
            </a:endParaRPr>
          </a:p>
        </p:txBody>
      </p:sp>
    </p:spTree>
    <p:extLst>
      <p:ext uri="{BB962C8B-B14F-4D97-AF65-F5344CB8AC3E}">
        <p14:creationId xmlns:p14="http://schemas.microsoft.com/office/powerpoint/2010/main" val="454337545"/>
      </p:ext>
    </p:extLst>
  </p:cSld>
  <p:clrMapOvr>
    <a:masterClrMapping/>
  </p:clrMapOvr>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1" y="-1"/>
            <a:ext cx="9144000" cy="1008530"/>
          </a:xfrm>
          <a:solidFill>
            <a:srgbClr val="DDD9C3"/>
          </a:solidFill>
          <a:ln>
            <a:noFill/>
          </a:ln>
        </p:spPr>
        <p:txBody>
          <a:bodyPr vert="horz" lIns="91440" tIns="45720" rIns="91440" bIns="45720" rtlCol="0" anchor="ctr">
            <a:noAutofit/>
          </a:bodyPr>
          <a:lstStyle/>
          <a:p>
            <a:pPr marL="58738" indent="4763"/>
            <a:r>
              <a:rPr lang="en-US" sz="2200" kern="1200" dirty="0">
                <a:solidFill>
                  <a:schemeClr val="tx1"/>
                </a:solidFill>
                <a:cs typeface="Calibri"/>
              </a:rPr>
              <a:t>EID and VL Site and Product Selection Tool Overview (5 of 5)</a:t>
            </a:r>
          </a:p>
        </p:txBody>
      </p:sp>
      <p:grpSp>
        <p:nvGrpSpPr>
          <p:cNvPr id="9" name="Group 8"/>
          <p:cNvGrpSpPr/>
          <p:nvPr/>
        </p:nvGrpSpPr>
        <p:grpSpPr>
          <a:xfrm>
            <a:off x="194470" y="1333154"/>
            <a:ext cx="8763986" cy="2103219"/>
            <a:chOff x="344384" y="1377539"/>
            <a:chExt cx="8383980" cy="2509559"/>
          </a:xfrm>
        </p:grpSpPr>
        <p:sp>
          <p:nvSpPr>
            <p:cNvPr id="10" name="Rectangle 9"/>
            <p:cNvSpPr/>
            <p:nvPr/>
          </p:nvSpPr>
          <p:spPr bwMode="auto">
            <a:xfrm>
              <a:off x="344384" y="1377539"/>
              <a:ext cx="8383980" cy="415636"/>
            </a:xfrm>
            <a:prstGeom prst="rect">
              <a:avLst/>
            </a:prstGeom>
            <a:solidFill>
              <a:schemeClr val="accent1"/>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1600" b="1" dirty="0" smtClean="0">
                  <a:solidFill>
                    <a:srgbClr val="000000"/>
                  </a:solidFill>
                  <a:latin typeface="Calibri" panose="020F0502020204030204" pitchFamily="34" charset="0"/>
                </a:rPr>
                <a:t>Review outputs and adjust as necessary</a:t>
              </a:r>
            </a:p>
          </p:txBody>
        </p:sp>
        <p:sp>
          <p:nvSpPr>
            <p:cNvPr id="11" name="Rectangle 10"/>
            <p:cNvSpPr/>
            <p:nvPr/>
          </p:nvSpPr>
          <p:spPr bwMode="auto">
            <a:xfrm>
              <a:off x="344384" y="1793173"/>
              <a:ext cx="8383980" cy="2093925"/>
            </a:xfrm>
            <a:prstGeom prst="rect">
              <a:avLst/>
            </a:prstGeom>
            <a:no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285750" indent="-285750" fontAlgn="base">
                <a:spcBef>
                  <a:spcPct val="0"/>
                </a:spcBef>
                <a:spcAft>
                  <a:spcPct val="0"/>
                </a:spcAft>
                <a:buSzPct val="100000"/>
                <a:buFont typeface="Arial"/>
                <a:buChar char="•"/>
              </a:pPr>
              <a:r>
                <a:rPr lang="en-US" sz="1500" dirty="0" smtClean="0">
                  <a:solidFill>
                    <a:srgbClr val="000000"/>
                  </a:solidFill>
                  <a:latin typeface="Calibri" panose="020F0502020204030204" pitchFamily="34" charset="0"/>
                </a:rPr>
                <a:t>Review model outputs, including:</a:t>
              </a:r>
            </a:p>
            <a:p>
              <a:pPr marL="742950" lvl="1" indent="-285750" fontAlgn="base">
                <a:spcBef>
                  <a:spcPct val="0"/>
                </a:spcBef>
                <a:spcAft>
                  <a:spcPct val="0"/>
                </a:spcAft>
                <a:buSzPct val="100000"/>
                <a:buFont typeface="Courier New" panose="02070309020205020404" pitchFamily="49" charset="0"/>
                <a:buChar char="o"/>
              </a:pPr>
              <a:r>
                <a:rPr lang="en-US" sz="1500" dirty="0" smtClean="0">
                  <a:solidFill>
                    <a:srgbClr val="000000"/>
                  </a:solidFill>
                  <a:latin typeface="Calibri" panose="020F0502020204030204" pitchFamily="34" charset="0"/>
                </a:rPr>
                <a:t>Distribution of on-site access to testing by facility size</a:t>
              </a:r>
            </a:p>
            <a:p>
              <a:pPr marL="742950" lvl="1" indent="-285750" fontAlgn="base">
                <a:spcBef>
                  <a:spcPct val="0"/>
                </a:spcBef>
                <a:spcAft>
                  <a:spcPct val="0"/>
                </a:spcAft>
                <a:buSzPct val="100000"/>
                <a:buFont typeface="Courier New" panose="02070309020205020404" pitchFamily="49" charset="0"/>
                <a:buChar char="o"/>
              </a:pPr>
              <a:r>
                <a:rPr lang="en-US" sz="1500" dirty="0" smtClean="0">
                  <a:solidFill>
                    <a:srgbClr val="000000"/>
                  </a:solidFill>
                  <a:latin typeface="Calibri" panose="020F0502020204030204" pitchFamily="34" charset="0"/>
                </a:rPr>
                <a:t>List of sites and devices selected</a:t>
              </a:r>
            </a:p>
            <a:p>
              <a:pPr marL="742950" lvl="1" indent="-285750" fontAlgn="base">
                <a:spcBef>
                  <a:spcPct val="0"/>
                </a:spcBef>
                <a:spcAft>
                  <a:spcPct val="0"/>
                </a:spcAft>
                <a:buSzPct val="100000"/>
                <a:buFont typeface="Courier New" panose="02070309020205020404" pitchFamily="49" charset="0"/>
                <a:buChar char="o"/>
              </a:pPr>
              <a:r>
                <a:rPr lang="en-US" sz="1500" dirty="0" smtClean="0">
                  <a:solidFill>
                    <a:srgbClr val="000000"/>
                  </a:solidFill>
                  <a:latin typeface="Calibri" panose="020F0502020204030204" pitchFamily="34" charset="0"/>
                </a:rPr>
                <a:t>Required budget</a:t>
              </a:r>
            </a:p>
            <a:p>
              <a:pPr marL="742950" lvl="1" indent="-285750" fontAlgn="base">
                <a:spcBef>
                  <a:spcPct val="0"/>
                </a:spcBef>
                <a:spcAft>
                  <a:spcPct val="0"/>
                </a:spcAft>
                <a:buSzPct val="100000"/>
                <a:buFont typeface="Courier New" panose="02070309020205020404" pitchFamily="49" charset="0"/>
                <a:buChar char="o"/>
              </a:pPr>
              <a:r>
                <a:rPr lang="en-US" sz="1500" dirty="0" smtClean="0">
                  <a:solidFill>
                    <a:srgbClr val="000000"/>
                  </a:solidFill>
                  <a:latin typeface="Calibri" panose="020F0502020204030204" pitchFamily="34" charset="0"/>
                </a:rPr>
                <a:t>Average cost per test</a:t>
              </a:r>
            </a:p>
            <a:p>
              <a:pPr marL="742950" lvl="1" indent="-285750" fontAlgn="base">
                <a:spcBef>
                  <a:spcPct val="0"/>
                </a:spcBef>
                <a:spcAft>
                  <a:spcPct val="0"/>
                </a:spcAft>
                <a:buSzPct val="100000"/>
                <a:buFont typeface="Courier New" panose="02070309020205020404" pitchFamily="49" charset="0"/>
                <a:buChar char="o"/>
              </a:pPr>
              <a:r>
                <a:rPr lang="en-US" sz="1500" dirty="0" smtClean="0">
                  <a:solidFill>
                    <a:srgbClr val="000000"/>
                  </a:solidFill>
                  <a:latin typeface="Calibri" panose="020F0502020204030204" pitchFamily="34" charset="0"/>
                </a:rPr>
                <a:t>Public health impact</a:t>
              </a:r>
            </a:p>
            <a:p>
              <a:pPr marL="285750" indent="-285750" fontAlgn="base">
                <a:spcBef>
                  <a:spcPct val="0"/>
                </a:spcBef>
                <a:spcAft>
                  <a:spcPct val="0"/>
                </a:spcAft>
                <a:buSzPct val="100000"/>
                <a:buFont typeface="Arial"/>
                <a:buChar char="•"/>
              </a:pPr>
              <a:r>
                <a:rPr lang="en-US" sz="1500" dirty="0" smtClean="0">
                  <a:solidFill>
                    <a:srgbClr val="000000"/>
                  </a:solidFill>
                  <a:latin typeface="Calibri" panose="020F0502020204030204" pitchFamily="34" charset="0"/>
                </a:rPr>
                <a:t>Adjust model outputs based on findings</a:t>
              </a:r>
            </a:p>
          </p:txBody>
        </p:sp>
      </p:grpSp>
      <p:sp>
        <p:nvSpPr>
          <p:cNvPr id="17" name="Oval 16"/>
          <p:cNvSpPr/>
          <p:nvPr/>
        </p:nvSpPr>
        <p:spPr bwMode="auto">
          <a:xfrm>
            <a:off x="0" y="1277698"/>
            <a:ext cx="332510" cy="310774"/>
          </a:xfrm>
          <a:prstGeom prst="ellipse">
            <a:avLst/>
          </a:prstGeom>
          <a:solidFill>
            <a:srgbClr val="003366"/>
          </a:solidFill>
          <a:ln w="952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algn="ctr" fontAlgn="base">
              <a:spcBef>
                <a:spcPct val="0"/>
              </a:spcBef>
              <a:spcAft>
                <a:spcPct val="0"/>
              </a:spcAft>
            </a:pPr>
            <a:r>
              <a:rPr lang="en-US" sz="1400" b="1" dirty="0" smtClean="0">
                <a:solidFill>
                  <a:srgbClr val="FFFFFF"/>
                </a:solidFill>
                <a:latin typeface="Calibri" panose="020F0502020204030204" pitchFamily="34" charset="0"/>
              </a:rPr>
              <a:t>8</a:t>
            </a:r>
            <a:endParaRPr lang="en-US" b="1" dirty="0" smtClean="0">
              <a:solidFill>
                <a:srgbClr val="FFFFFF"/>
              </a:solidFill>
              <a:latin typeface="Calibri" panose="020F0502020204030204" pitchFamily="34" charset="0"/>
            </a:endParaRPr>
          </a:p>
        </p:txBody>
      </p:sp>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224646" y="3608151"/>
            <a:ext cx="5878891" cy="2677812"/>
          </a:xfrm>
          <a:prstGeom prst="rect">
            <a:avLst/>
          </a:prstGeom>
          <a:ln>
            <a:solidFill>
              <a:schemeClr val="tx2"/>
            </a:solidFill>
          </a:ln>
        </p:spPr>
      </p:pic>
      <p:pic>
        <p:nvPicPr>
          <p:cNvPr id="18" name="Picture 1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824987" y="4947056"/>
            <a:ext cx="5663164" cy="1713677"/>
          </a:xfrm>
          <a:prstGeom prst="rect">
            <a:avLst/>
          </a:prstGeom>
          <a:ln>
            <a:solidFill>
              <a:schemeClr val="tx2"/>
            </a:solidFill>
          </a:ln>
        </p:spPr>
      </p:pic>
    </p:spTree>
    <p:extLst>
      <p:ext uri="{BB962C8B-B14F-4D97-AF65-F5344CB8AC3E}">
        <p14:creationId xmlns:p14="http://schemas.microsoft.com/office/powerpoint/2010/main" val="4100504316"/>
      </p:ext>
    </p:extLst>
  </p:cSld>
  <p:clrMapOvr>
    <a:masterClrMapping/>
  </p:clrMapOvr>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RESIZE" val="Yes"/>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RESIZE" val="Yes"/>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UNITAID 2017 - 11-2016">
  <a:themeElements>
    <a:clrScheme name="UNITAID 2017 v3">
      <a:dk1>
        <a:srgbClr val="000000"/>
      </a:dk1>
      <a:lt1>
        <a:srgbClr val="FFFFFF"/>
      </a:lt1>
      <a:dk2>
        <a:srgbClr val="AD172B"/>
      </a:dk2>
      <a:lt2>
        <a:srgbClr val="808080"/>
      </a:lt2>
      <a:accent1>
        <a:srgbClr val="E2E2E2"/>
      </a:accent1>
      <a:accent2>
        <a:srgbClr val="FFD6D2"/>
      </a:accent2>
      <a:accent3>
        <a:srgbClr val="B2B2B2"/>
      </a:accent3>
      <a:accent4>
        <a:srgbClr val="4D4D4D"/>
      </a:accent4>
      <a:accent5>
        <a:srgbClr val="F79C93"/>
      </a:accent5>
      <a:accent6>
        <a:srgbClr val="E01712"/>
      </a:accent6>
      <a:hlink>
        <a:srgbClr val="00A9CE"/>
      </a:hlink>
      <a:folHlink>
        <a:srgbClr val="7FD5E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1440" bIns="91440" rtlCol="0" anchor="ctr" anchorCtr="0"/>
      <a:lstStyle>
        <a:defPPr algn="ctr">
          <a:defRPr sz="1400" dirty="0" err="1"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1440" bIns="91440" rtlCol="0">
        <a:spAutoFit/>
      </a:bodyPr>
      <a:lstStyle>
        <a:defPPr>
          <a:defRPr sz="1400" dirty="0" smtClean="0">
            <a:solidFill>
              <a:srgbClr val="000000"/>
            </a:solidFill>
          </a:defRPr>
        </a:defPPr>
      </a:lstStyle>
    </a:txDef>
  </a:objectDefaults>
  <a:extraClrSchemeLst>
    <a:extraClrScheme>
      <a:clrScheme name="UNITAID 2017 - 11-2016">
        <a:dk1>
          <a:srgbClr val="000000"/>
        </a:dk1>
        <a:lt1>
          <a:srgbClr val="FFFFFF"/>
        </a:lt1>
        <a:dk2>
          <a:srgbClr val="AD172B"/>
        </a:dk2>
        <a:lt2>
          <a:srgbClr val="808080"/>
        </a:lt2>
        <a:accent1>
          <a:srgbClr val="E2E2E2"/>
        </a:accent1>
        <a:accent2>
          <a:srgbClr val="FFD6D2"/>
        </a:accent2>
        <a:accent3>
          <a:srgbClr val="B2B2B2"/>
        </a:accent3>
        <a:accent4>
          <a:srgbClr val="4D4D4D"/>
        </a:accent4>
        <a:accent5>
          <a:srgbClr val="F79C93"/>
        </a:accent5>
        <a:accent6>
          <a:srgbClr val="E01712"/>
        </a:accent6>
        <a:hlink>
          <a:srgbClr val="00A9CE"/>
        </a:hlink>
        <a:folHlink>
          <a:srgbClr val="7FD5E9"/>
        </a:folHlink>
      </a:clrScheme>
      <a:clrMap bg1="lt1" tx1="dk1" bg2="lt2" tx2="dk2" accent1="accent1" accent2="accent2" accent3="accent3" accent4="accent4" accent5="accent5" accent6="accent6" hlink="hlink" folHlink="folHlink"/>
    </a:extraClrScheme>
  </a:extraClrSchemeLst>
  <a:custClrLst>
    <a:custClr name="Dark Red">
      <a:srgbClr val="AD172B"/>
    </a:custClr>
    <a:custClr name="White">
      <a:srgbClr val="FFFFFF"/>
    </a:custClr>
    <a:custClr name="Black">
      <a:srgbClr val="000000"/>
    </a:custClr>
    <a:custClr name="Light Red">
      <a:srgbClr val="FFD6D2"/>
    </a:custClr>
    <a:custClr name="Medium Red">
      <a:srgbClr val="F79C93"/>
    </a:custClr>
    <a:custClr name="Red">
      <a:srgbClr val="E01712"/>
    </a:custClr>
    <a:custClr name="Dark  Red">
      <a:srgbClr val="AD172B"/>
    </a:custClr>
    <a:custClr name="Super Dark Red">
      <a:srgbClr val="730E1C"/>
    </a:custClr>
    <a:custClr name="Light Gray">
      <a:srgbClr val="E2E2E2"/>
    </a:custClr>
    <a:custClr name="Medium Gray">
      <a:srgbClr val="B2B2B2"/>
    </a:custClr>
    <a:custClr name="Gray">
      <a:srgbClr val="808080"/>
    </a:custClr>
    <a:custClr name="Dark Gray">
      <a:srgbClr val="4D4D4D"/>
    </a:custClr>
    <a:custClr name="Light Blue">
      <a:srgbClr val="CDF1F9"/>
    </a:custClr>
    <a:custClr name="Medium Blue">
      <a:srgbClr val="7FD5E9"/>
    </a:custClr>
    <a:custClr name="Blue">
      <a:srgbClr val="00A9CE"/>
    </a:custClr>
    <a:custClr name="Dark Blue">
      <a:srgbClr val="0078AE"/>
    </a:custClr>
    <a:custClr name="Super Dark Blue">
      <a:srgbClr val="004F71"/>
    </a:custClr>
    <a:custClr name="Light Green">
      <a:srgbClr val="DBEEBC"/>
    </a:custClr>
    <a:custClr name="Medium Green">
      <a:srgbClr val="94BB54"/>
    </a:custClr>
    <a:custClr name="Green">
      <a:srgbClr val="688735"/>
    </a:custClr>
    <a:custClr name="Dark Green">
      <a:srgbClr val="435723"/>
    </a:custClr>
    <a:custClr name="Light Yellow">
      <a:srgbClr val="FCF9B6"/>
    </a:custClr>
    <a:custClr name="Medium Yellow">
      <a:srgbClr val="F2E77A"/>
    </a:custClr>
    <a:custClr name="Yellow">
      <a:srgbClr val="DDCD00"/>
    </a:custClr>
    <a:custClr name="Dark Yellow">
      <a:srgbClr val="C0A000"/>
    </a:custClr>
    <a:custClr name="Light Purple">
      <a:srgbClr val="F6C8F5"/>
    </a:custClr>
    <a:custClr name="Medium Purple">
      <a:srgbClr val="DE8EDE"/>
    </a:custClr>
    <a:custClr name="Purple">
      <a:srgbClr val="B04EAE"/>
    </a:custClr>
    <a:custClr name="Dark Purple">
      <a:srgbClr val="9C248F"/>
    </a:custClr>
    <a:custClr name="Light Brown">
      <a:srgbClr val="F4D8BA"/>
    </a:custClr>
    <a:custClr name="Medium Brown">
      <a:srgbClr val="D2A676"/>
    </a:custClr>
    <a:custClr name="Brown">
      <a:srgbClr val="A1784B"/>
    </a:custClr>
    <a:custClr name="Dark Brown">
      <a:srgbClr val="75481B"/>
    </a:custClr>
    <a:custClr name="Accent Yellow">
      <a:srgbClr val="FEEC00"/>
    </a:custClr>
    <a:custClr name="Accent Orange">
      <a:srgbClr val="DC6E00"/>
    </a:custClr>
    <a:custClr name="Accent Bright Red">
      <a:srgbClr val="FF0000"/>
    </a:custClr>
    <a:custClr name="Accent Red">
      <a:srgbClr val="C41300"/>
    </a:custClr>
    <a:custClr name="Accent Green">
      <a:srgbClr val="06C245"/>
    </a:custClr>
    <a:custClr name="Accent Blue">
      <a:srgbClr val="008FC8"/>
    </a:custClr>
    <a:custClr name="Accent Violet">
      <a:srgbClr val="CC0099"/>
    </a:custClr>
  </a:custClrLst>
</a:theme>
</file>

<file path=ppt/theme/theme3.xml><?xml version="1.0" encoding="utf-8"?>
<a:theme xmlns:a="http://schemas.openxmlformats.org/drawingml/2006/main" name="1_UNITAID 2017 - 11-2016">
  <a:themeElements>
    <a:clrScheme name="UNITAID 2017 v3">
      <a:dk1>
        <a:srgbClr val="000000"/>
      </a:dk1>
      <a:lt1>
        <a:srgbClr val="FFFFFF"/>
      </a:lt1>
      <a:dk2>
        <a:srgbClr val="AD172B"/>
      </a:dk2>
      <a:lt2>
        <a:srgbClr val="808080"/>
      </a:lt2>
      <a:accent1>
        <a:srgbClr val="E2E2E2"/>
      </a:accent1>
      <a:accent2>
        <a:srgbClr val="FFD6D2"/>
      </a:accent2>
      <a:accent3>
        <a:srgbClr val="B2B2B2"/>
      </a:accent3>
      <a:accent4>
        <a:srgbClr val="4D4D4D"/>
      </a:accent4>
      <a:accent5>
        <a:srgbClr val="F79C93"/>
      </a:accent5>
      <a:accent6>
        <a:srgbClr val="E01712"/>
      </a:accent6>
      <a:hlink>
        <a:srgbClr val="00A9CE"/>
      </a:hlink>
      <a:folHlink>
        <a:srgbClr val="7FD5E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1440" bIns="91440" rtlCol="0" anchor="ctr" anchorCtr="0"/>
      <a:lstStyle>
        <a:defPPr algn="ctr">
          <a:defRPr sz="1400" dirty="0" err="1"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1440" bIns="91440" rtlCol="0">
        <a:spAutoFit/>
      </a:bodyPr>
      <a:lstStyle>
        <a:defPPr>
          <a:defRPr sz="1400" dirty="0" smtClean="0">
            <a:solidFill>
              <a:srgbClr val="000000"/>
            </a:solidFill>
          </a:defRPr>
        </a:defPPr>
      </a:lstStyle>
    </a:txDef>
  </a:objectDefaults>
  <a:extraClrSchemeLst>
    <a:extraClrScheme>
      <a:clrScheme name="UNITAID 2017 - 11-2016">
        <a:dk1>
          <a:srgbClr val="000000"/>
        </a:dk1>
        <a:lt1>
          <a:srgbClr val="FFFFFF"/>
        </a:lt1>
        <a:dk2>
          <a:srgbClr val="AD172B"/>
        </a:dk2>
        <a:lt2>
          <a:srgbClr val="808080"/>
        </a:lt2>
        <a:accent1>
          <a:srgbClr val="E2E2E2"/>
        </a:accent1>
        <a:accent2>
          <a:srgbClr val="FFD6D2"/>
        </a:accent2>
        <a:accent3>
          <a:srgbClr val="B2B2B2"/>
        </a:accent3>
        <a:accent4>
          <a:srgbClr val="4D4D4D"/>
        </a:accent4>
        <a:accent5>
          <a:srgbClr val="F79C93"/>
        </a:accent5>
        <a:accent6>
          <a:srgbClr val="E01712"/>
        </a:accent6>
        <a:hlink>
          <a:srgbClr val="00A9CE"/>
        </a:hlink>
        <a:folHlink>
          <a:srgbClr val="7FD5E9"/>
        </a:folHlink>
      </a:clrScheme>
      <a:clrMap bg1="lt1" tx1="dk1" bg2="lt2" tx2="dk2" accent1="accent1" accent2="accent2" accent3="accent3" accent4="accent4" accent5="accent5" accent6="accent6" hlink="hlink" folHlink="folHlink"/>
    </a:extraClrScheme>
  </a:extraClrSchemeLst>
  <a:custClrLst>
    <a:custClr name="Dark Red">
      <a:srgbClr val="AD172B"/>
    </a:custClr>
    <a:custClr name="White">
      <a:srgbClr val="FFFFFF"/>
    </a:custClr>
    <a:custClr name="Black">
      <a:srgbClr val="000000"/>
    </a:custClr>
    <a:custClr name="Light Red">
      <a:srgbClr val="FFD6D2"/>
    </a:custClr>
    <a:custClr name="Medium Red">
      <a:srgbClr val="F79C93"/>
    </a:custClr>
    <a:custClr name="Red">
      <a:srgbClr val="E01712"/>
    </a:custClr>
    <a:custClr name="Dark  Red">
      <a:srgbClr val="AD172B"/>
    </a:custClr>
    <a:custClr name="Super Dark Red">
      <a:srgbClr val="730E1C"/>
    </a:custClr>
    <a:custClr name="Light Gray">
      <a:srgbClr val="E2E2E2"/>
    </a:custClr>
    <a:custClr name="Medium Gray">
      <a:srgbClr val="B2B2B2"/>
    </a:custClr>
    <a:custClr name="Gray">
      <a:srgbClr val="808080"/>
    </a:custClr>
    <a:custClr name="Dark Gray">
      <a:srgbClr val="4D4D4D"/>
    </a:custClr>
    <a:custClr name="Light Blue">
      <a:srgbClr val="CDF1F9"/>
    </a:custClr>
    <a:custClr name="Medium Blue">
      <a:srgbClr val="7FD5E9"/>
    </a:custClr>
    <a:custClr name="Blue">
      <a:srgbClr val="00A9CE"/>
    </a:custClr>
    <a:custClr name="Dark Blue">
      <a:srgbClr val="0078AE"/>
    </a:custClr>
    <a:custClr name="Super Dark Blue">
      <a:srgbClr val="004F71"/>
    </a:custClr>
    <a:custClr name="Light Green">
      <a:srgbClr val="DBEEBC"/>
    </a:custClr>
    <a:custClr name="Medium Green">
      <a:srgbClr val="94BB54"/>
    </a:custClr>
    <a:custClr name="Green">
      <a:srgbClr val="688735"/>
    </a:custClr>
    <a:custClr name="Dark Green">
      <a:srgbClr val="435723"/>
    </a:custClr>
    <a:custClr name="Light Yellow">
      <a:srgbClr val="FCF9B6"/>
    </a:custClr>
    <a:custClr name="Medium Yellow">
      <a:srgbClr val="F2E77A"/>
    </a:custClr>
    <a:custClr name="Yellow">
      <a:srgbClr val="DDCD00"/>
    </a:custClr>
    <a:custClr name="Dark Yellow">
      <a:srgbClr val="C0A000"/>
    </a:custClr>
    <a:custClr name="Light Purple">
      <a:srgbClr val="F6C8F5"/>
    </a:custClr>
    <a:custClr name="Medium Purple">
      <a:srgbClr val="DE8EDE"/>
    </a:custClr>
    <a:custClr name="Purple">
      <a:srgbClr val="B04EAE"/>
    </a:custClr>
    <a:custClr name="Dark Purple">
      <a:srgbClr val="9C248F"/>
    </a:custClr>
    <a:custClr name="Light Brown">
      <a:srgbClr val="F4D8BA"/>
    </a:custClr>
    <a:custClr name="Medium Brown">
      <a:srgbClr val="D2A676"/>
    </a:custClr>
    <a:custClr name="Brown">
      <a:srgbClr val="A1784B"/>
    </a:custClr>
    <a:custClr name="Dark Brown">
      <a:srgbClr val="75481B"/>
    </a:custClr>
    <a:custClr name="Accent Yellow">
      <a:srgbClr val="FEEC00"/>
    </a:custClr>
    <a:custClr name="Accent Orange">
      <a:srgbClr val="DC6E00"/>
    </a:custClr>
    <a:custClr name="Accent Bright Red">
      <a:srgbClr val="FF0000"/>
    </a:custClr>
    <a:custClr name="Accent Red">
      <a:srgbClr val="C41300"/>
    </a:custClr>
    <a:custClr name="Accent Green">
      <a:srgbClr val="06C245"/>
    </a:custClr>
    <a:custClr name="Accent Blue">
      <a:srgbClr val="008FC8"/>
    </a:custClr>
    <a:custClr name="Accent Violet">
      <a:srgbClr val="CC0099"/>
    </a:custClr>
  </a:custClrLst>
</a:theme>
</file>

<file path=ppt/theme/theme4.xml><?xml version="1.0" encoding="utf-8"?>
<a:theme xmlns:a="http://schemas.openxmlformats.org/drawingml/2006/main" name="2_UNITAID 2017 - 11-2016">
  <a:themeElements>
    <a:clrScheme name="UNITAID 2017 v3">
      <a:dk1>
        <a:srgbClr val="000000"/>
      </a:dk1>
      <a:lt1>
        <a:srgbClr val="FFFFFF"/>
      </a:lt1>
      <a:dk2>
        <a:srgbClr val="AD172B"/>
      </a:dk2>
      <a:lt2>
        <a:srgbClr val="808080"/>
      </a:lt2>
      <a:accent1>
        <a:srgbClr val="E2E2E2"/>
      </a:accent1>
      <a:accent2>
        <a:srgbClr val="FFD6D2"/>
      </a:accent2>
      <a:accent3>
        <a:srgbClr val="B2B2B2"/>
      </a:accent3>
      <a:accent4>
        <a:srgbClr val="4D4D4D"/>
      </a:accent4>
      <a:accent5>
        <a:srgbClr val="F79C93"/>
      </a:accent5>
      <a:accent6>
        <a:srgbClr val="E01712"/>
      </a:accent6>
      <a:hlink>
        <a:srgbClr val="00A9CE"/>
      </a:hlink>
      <a:folHlink>
        <a:srgbClr val="7FD5E9"/>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1"/>
          </a:solidFill>
        </a:ln>
        <a:effectLst/>
      </a:spPr>
      <a:bodyPr tIns="91440" bIns="91440" rtlCol="0" anchor="ctr" anchorCtr="0"/>
      <a:lstStyle>
        <a:defPPr algn="ctr">
          <a:defRPr sz="1400" dirty="0" err="1" smtClean="0">
            <a:solidFill>
              <a:srgbClr val="000000"/>
            </a:solidFill>
            <a:latin typeface="Arial" pitchFamily="34" charset="0"/>
            <a:cs typeface="Arial" pitchFamily="34" charset="0"/>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bg2"/>
          </a:solidFill>
          <a:tailEnd type="none" w="lg" len="lg"/>
        </a:ln>
      </a:spPr>
      <a:bodyPr/>
      <a:lstStyle/>
      <a:style>
        <a:lnRef idx="1">
          <a:schemeClr val="accent1"/>
        </a:lnRef>
        <a:fillRef idx="0">
          <a:schemeClr val="accent1"/>
        </a:fillRef>
        <a:effectRef idx="0">
          <a:schemeClr val="accent1"/>
        </a:effectRef>
        <a:fontRef idx="minor">
          <a:schemeClr val="tx1"/>
        </a:fontRef>
      </a:style>
    </a:lnDef>
    <a:txDef>
      <a:spPr>
        <a:noFill/>
      </a:spPr>
      <a:bodyPr wrap="square" tIns="91440" bIns="91440" rtlCol="0">
        <a:spAutoFit/>
      </a:bodyPr>
      <a:lstStyle>
        <a:defPPr>
          <a:defRPr sz="1400" dirty="0" smtClean="0">
            <a:solidFill>
              <a:srgbClr val="000000"/>
            </a:solidFill>
          </a:defRPr>
        </a:defPPr>
      </a:lstStyle>
    </a:txDef>
  </a:objectDefaults>
  <a:extraClrSchemeLst>
    <a:extraClrScheme>
      <a:clrScheme name="UNITAID 2017 - 11-2016">
        <a:dk1>
          <a:srgbClr val="000000"/>
        </a:dk1>
        <a:lt1>
          <a:srgbClr val="FFFFFF"/>
        </a:lt1>
        <a:dk2>
          <a:srgbClr val="AD172B"/>
        </a:dk2>
        <a:lt2>
          <a:srgbClr val="808080"/>
        </a:lt2>
        <a:accent1>
          <a:srgbClr val="E2E2E2"/>
        </a:accent1>
        <a:accent2>
          <a:srgbClr val="FFD6D2"/>
        </a:accent2>
        <a:accent3>
          <a:srgbClr val="B2B2B2"/>
        </a:accent3>
        <a:accent4>
          <a:srgbClr val="4D4D4D"/>
        </a:accent4>
        <a:accent5>
          <a:srgbClr val="F79C93"/>
        </a:accent5>
        <a:accent6>
          <a:srgbClr val="E01712"/>
        </a:accent6>
        <a:hlink>
          <a:srgbClr val="00A9CE"/>
        </a:hlink>
        <a:folHlink>
          <a:srgbClr val="7FD5E9"/>
        </a:folHlink>
      </a:clrScheme>
      <a:clrMap bg1="lt1" tx1="dk1" bg2="lt2" tx2="dk2" accent1="accent1" accent2="accent2" accent3="accent3" accent4="accent4" accent5="accent5" accent6="accent6" hlink="hlink" folHlink="folHlink"/>
    </a:extraClrScheme>
  </a:extraClrSchemeLst>
  <a:custClrLst>
    <a:custClr name="Dark Red">
      <a:srgbClr val="AD172B"/>
    </a:custClr>
    <a:custClr name="White">
      <a:srgbClr val="FFFFFF"/>
    </a:custClr>
    <a:custClr name="Black">
      <a:srgbClr val="000000"/>
    </a:custClr>
    <a:custClr name="Light Red">
      <a:srgbClr val="FFD6D2"/>
    </a:custClr>
    <a:custClr name="Medium Red">
      <a:srgbClr val="F79C93"/>
    </a:custClr>
    <a:custClr name="Red">
      <a:srgbClr val="E01712"/>
    </a:custClr>
    <a:custClr name="Dark  Red">
      <a:srgbClr val="AD172B"/>
    </a:custClr>
    <a:custClr name="Super Dark Red">
      <a:srgbClr val="730E1C"/>
    </a:custClr>
    <a:custClr name="Light Gray">
      <a:srgbClr val="E2E2E2"/>
    </a:custClr>
    <a:custClr name="Medium Gray">
      <a:srgbClr val="B2B2B2"/>
    </a:custClr>
    <a:custClr name="Gray">
      <a:srgbClr val="808080"/>
    </a:custClr>
    <a:custClr name="Dark Gray">
      <a:srgbClr val="4D4D4D"/>
    </a:custClr>
    <a:custClr name="Light Blue">
      <a:srgbClr val="CDF1F9"/>
    </a:custClr>
    <a:custClr name="Medium Blue">
      <a:srgbClr val="7FD5E9"/>
    </a:custClr>
    <a:custClr name="Blue">
      <a:srgbClr val="00A9CE"/>
    </a:custClr>
    <a:custClr name="Dark Blue">
      <a:srgbClr val="0078AE"/>
    </a:custClr>
    <a:custClr name="Super Dark Blue">
      <a:srgbClr val="004F71"/>
    </a:custClr>
    <a:custClr name="Light Green">
      <a:srgbClr val="DBEEBC"/>
    </a:custClr>
    <a:custClr name="Medium Green">
      <a:srgbClr val="94BB54"/>
    </a:custClr>
    <a:custClr name="Green">
      <a:srgbClr val="688735"/>
    </a:custClr>
    <a:custClr name="Dark Green">
      <a:srgbClr val="435723"/>
    </a:custClr>
    <a:custClr name="Light Yellow">
      <a:srgbClr val="FCF9B6"/>
    </a:custClr>
    <a:custClr name="Medium Yellow">
      <a:srgbClr val="F2E77A"/>
    </a:custClr>
    <a:custClr name="Yellow">
      <a:srgbClr val="DDCD00"/>
    </a:custClr>
    <a:custClr name="Dark Yellow">
      <a:srgbClr val="C0A000"/>
    </a:custClr>
    <a:custClr name="Light Purple">
      <a:srgbClr val="F6C8F5"/>
    </a:custClr>
    <a:custClr name="Medium Purple">
      <a:srgbClr val="DE8EDE"/>
    </a:custClr>
    <a:custClr name="Purple">
      <a:srgbClr val="B04EAE"/>
    </a:custClr>
    <a:custClr name="Dark Purple">
      <a:srgbClr val="9C248F"/>
    </a:custClr>
    <a:custClr name="Light Brown">
      <a:srgbClr val="F4D8BA"/>
    </a:custClr>
    <a:custClr name="Medium Brown">
      <a:srgbClr val="D2A676"/>
    </a:custClr>
    <a:custClr name="Brown">
      <a:srgbClr val="A1784B"/>
    </a:custClr>
    <a:custClr name="Dark Brown">
      <a:srgbClr val="75481B"/>
    </a:custClr>
    <a:custClr name="Accent Yellow">
      <a:srgbClr val="FEEC00"/>
    </a:custClr>
    <a:custClr name="Accent Orange">
      <a:srgbClr val="DC6E00"/>
    </a:custClr>
    <a:custClr name="Accent Bright Red">
      <a:srgbClr val="FF0000"/>
    </a:custClr>
    <a:custClr name="Accent Red">
      <a:srgbClr val="C41300"/>
    </a:custClr>
    <a:custClr name="Accent Green">
      <a:srgbClr val="06C245"/>
    </a:custClr>
    <a:custClr name="Accent Blue">
      <a:srgbClr val="008FC8"/>
    </a:custClr>
    <a:custClr name="Accent Violet">
      <a:srgbClr val="CC0099"/>
    </a:custClr>
  </a:custClrLst>
</a:theme>
</file>

<file path=ppt/theme/theme5.xml><?xml version="1.0" encoding="utf-8"?>
<a:theme xmlns:a="http://schemas.openxmlformats.org/drawingml/2006/main" name="CHAI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Blank Presentation">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rgbClr val="99CCFF"/>
        </a:solidFill>
        <a:ln w="9525" cap="flat" cmpd="sng" algn="ctr">
          <a:solidFill>
            <a:schemeClr val="tx1"/>
          </a:solidFill>
          <a:prstDash val="solid"/>
          <a:round/>
          <a:headEnd type="none" w="med" len="med"/>
          <a:tailEnd type="none" w="med" len="med"/>
        </a:ln>
        <a:effectLst/>
      </a:spPr>
      <a:bodyPr vert="horz" wrap="square" lIns="99440" tIns="49721" rIns="99440" bIns="49721" numCol="1" anchor="ctr"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24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Blank Presentatio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Blank Presentatio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Blank Presentatio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Blank Presentatio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Blank Presentatio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Blank Presentatio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Blank Presentation 7">
        <a:dk1>
          <a:srgbClr val="5C1F00"/>
        </a:dk1>
        <a:lt1>
          <a:srgbClr val="FFFFFF"/>
        </a:lt1>
        <a:dk2>
          <a:srgbClr val="800000"/>
        </a:dk2>
        <a:lt2>
          <a:srgbClr val="DFD293"/>
        </a:lt2>
        <a:accent1>
          <a:srgbClr val="713E39"/>
        </a:accent1>
        <a:accent2>
          <a:srgbClr val="BE7960"/>
        </a:accent2>
        <a:accent3>
          <a:srgbClr val="C0AAAA"/>
        </a:accent3>
        <a:accent4>
          <a:srgbClr val="DADADA"/>
        </a:accent4>
        <a:accent5>
          <a:srgbClr val="BBAFAE"/>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Blank Presentatio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Blank Presentatio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Blank Presentatio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Blank Presentatio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Blank Presentatio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Blank Presentation 13">
        <a:dk1>
          <a:srgbClr val="000000"/>
        </a:dk1>
        <a:lt1>
          <a:srgbClr val="FFFFFF"/>
        </a:lt1>
        <a:dk2>
          <a:srgbClr val="284A8C"/>
        </a:dk2>
        <a:lt2>
          <a:srgbClr val="808080"/>
        </a:lt2>
        <a:accent1>
          <a:srgbClr val="E2EED1"/>
        </a:accent1>
        <a:accent2>
          <a:srgbClr val="BF071A"/>
        </a:accent2>
        <a:accent3>
          <a:srgbClr val="FFFFFF"/>
        </a:accent3>
        <a:accent4>
          <a:srgbClr val="000000"/>
        </a:accent4>
        <a:accent5>
          <a:srgbClr val="EEF5E5"/>
        </a:accent5>
        <a:accent6>
          <a:srgbClr val="AD0616"/>
        </a:accent6>
        <a:hlink>
          <a:srgbClr val="788DCC"/>
        </a:hlink>
        <a:folHlink>
          <a:srgbClr val="D7B6BA"/>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CHAI 2-smaller font">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7.xml><?xml version="1.0" encoding="utf-8"?>
<a:theme xmlns:a="http://schemas.openxmlformats.org/drawingml/2006/main" name="3_CHAI 2-smaller font">
  <a:themeElements>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l" defTabSz="914400" rtl="0" eaLnBrk="1" fontAlgn="base" latinLnBrk="0" hangingPunct="1">
          <a:lnSpc>
            <a:spcPct val="100000"/>
          </a:lnSpc>
          <a:spcBef>
            <a:spcPct val="0"/>
          </a:spcBef>
          <a:spcAft>
            <a:spcPct val="0"/>
          </a:spcAft>
          <a:buClrTx/>
          <a:buSzTx/>
          <a:buFontTx/>
          <a:buNone/>
          <a:tabLst/>
          <a:defRPr kumimoji="0" lang="en-US" sz="1800" b="1" i="0" u="none" strike="noStrike" cap="none" normalizeH="0" baseline="0" smtClean="0">
            <a:ln>
              <a:noFill/>
            </a:ln>
            <a:solidFill>
              <a:schemeClr val="tx1"/>
            </a:solidFill>
            <a:effectLst/>
            <a:latin typeface="Arial"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Lst>
</a:theme>
</file>

<file path=ppt/theme/theme8.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9.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43487</TotalTime>
  <Words>976</Words>
  <Application>Microsoft Macintosh PowerPoint</Application>
  <PresentationFormat>On-screen Show (4:3)</PresentationFormat>
  <Paragraphs>158</Paragraphs>
  <Slides>10</Slides>
  <Notes>5</Notes>
  <HiddenSlides>0</HiddenSlides>
  <MMClips>0</MMClips>
  <ScaleCrop>false</ScaleCrop>
  <HeadingPairs>
    <vt:vector size="6" baseType="variant">
      <vt:variant>
        <vt:lpstr>Theme</vt:lpstr>
      </vt:variant>
      <vt:variant>
        <vt:i4>8</vt:i4>
      </vt:variant>
      <vt:variant>
        <vt:lpstr>Embedded OLE Servers</vt:lpstr>
      </vt:variant>
      <vt:variant>
        <vt:i4>1</vt:i4>
      </vt:variant>
      <vt:variant>
        <vt:lpstr>Slide Titles</vt:lpstr>
      </vt:variant>
      <vt:variant>
        <vt:i4>10</vt:i4>
      </vt:variant>
    </vt:vector>
  </HeadingPairs>
  <TitlesOfParts>
    <vt:vector size="19" baseType="lpstr">
      <vt:lpstr>Default Theme</vt:lpstr>
      <vt:lpstr>UNITAID 2017 - 11-2016</vt:lpstr>
      <vt:lpstr>1_UNITAID 2017 - 11-2016</vt:lpstr>
      <vt:lpstr>2_UNITAID 2017 - 11-2016</vt:lpstr>
      <vt:lpstr>CHAI Theme</vt:lpstr>
      <vt:lpstr>CHAI 2-smaller font</vt:lpstr>
      <vt:lpstr>3_CHAI 2-smaller font</vt:lpstr>
      <vt:lpstr>Office Theme</vt:lpstr>
      <vt:lpstr>think-cell Slide</vt:lpstr>
      <vt:lpstr>PowerPoint Presentation</vt:lpstr>
      <vt:lpstr>Product and site selection should be an iterative process involving key stakeholders</vt:lpstr>
      <vt:lpstr>Laboratory network mapping is a necessary foundation for any optimization, including appropriate site and product selection</vt:lpstr>
      <vt:lpstr>POC Product and Site Selection Tool</vt:lpstr>
      <vt:lpstr>EID and VL Site and Product Selection Tool Overview (1 of 5)</vt:lpstr>
      <vt:lpstr>EID and VL Site and Product Selection Tool Overview (2 of 5)</vt:lpstr>
      <vt:lpstr>EID and VL Site and Product Selection Tool Overview (3 of 5)</vt:lpstr>
      <vt:lpstr>EID and VL Site and Product Selection Tool Overview (4 of 5)</vt:lpstr>
      <vt:lpstr>EID and VL Site and Product Selection Tool Overview (5 of 5)</vt:lpstr>
      <vt:lpstr>Site capacity assessments</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Katie Pollak</dc:creator>
  <cp:lastModifiedBy>Naoko Doi</cp:lastModifiedBy>
  <cp:revision>2283</cp:revision>
  <dcterms:created xsi:type="dcterms:W3CDTF">2017-04-12T16:52:10Z</dcterms:created>
  <dcterms:modified xsi:type="dcterms:W3CDTF">2018-07-26T20:14:06Z</dcterms:modified>
</cp:coreProperties>
</file>